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1"/>
  </p:notesMasterIdLst>
  <p:handoutMasterIdLst>
    <p:handoutMasterId r:id="rId42"/>
  </p:handoutMasterIdLst>
  <p:sldIdLst>
    <p:sldId id="444" r:id="rId5"/>
    <p:sldId id="445" r:id="rId6"/>
    <p:sldId id="402" r:id="rId7"/>
    <p:sldId id="403" r:id="rId8"/>
    <p:sldId id="405" r:id="rId9"/>
    <p:sldId id="406" r:id="rId10"/>
    <p:sldId id="407" r:id="rId11"/>
    <p:sldId id="408" r:id="rId12"/>
    <p:sldId id="409" r:id="rId13"/>
    <p:sldId id="450" r:id="rId14"/>
    <p:sldId id="451" r:id="rId15"/>
    <p:sldId id="443" r:id="rId16"/>
    <p:sldId id="345" r:id="rId17"/>
    <p:sldId id="344" r:id="rId18"/>
    <p:sldId id="438" r:id="rId19"/>
    <p:sldId id="439" r:id="rId20"/>
    <p:sldId id="452" r:id="rId21"/>
    <p:sldId id="454" r:id="rId22"/>
    <p:sldId id="442" r:id="rId23"/>
    <p:sldId id="448" r:id="rId24"/>
    <p:sldId id="449" r:id="rId25"/>
    <p:sldId id="447" r:id="rId26"/>
    <p:sldId id="416" r:id="rId27"/>
    <p:sldId id="437" r:id="rId28"/>
    <p:sldId id="418" r:id="rId29"/>
    <p:sldId id="419" r:id="rId30"/>
    <p:sldId id="420" r:id="rId31"/>
    <p:sldId id="432" r:id="rId32"/>
    <p:sldId id="433" r:id="rId33"/>
    <p:sldId id="455" r:id="rId34"/>
    <p:sldId id="421" r:id="rId35"/>
    <p:sldId id="425" r:id="rId36"/>
    <p:sldId id="422" r:id="rId37"/>
    <p:sldId id="424" r:id="rId38"/>
    <p:sldId id="456" r:id="rId39"/>
    <p:sldId id="457" r:id="rId40"/>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6785C1"/>
    <a:srgbClr val="6685C2"/>
    <a:srgbClr val="6684C1"/>
    <a:srgbClr val="960F68"/>
    <a:srgbClr val="FF3300"/>
    <a:srgbClr val="9AAE04"/>
    <a:srgbClr val="4D4D4D"/>
    <a:srgbClr val="643269"/>
    <a:srgbClr val="5129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25378C-91D1-424A-ACB3-4103A395C1DF}" v="2" dt="2022-09-08T22:10:19.61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95012" autoAdjust="0"/>
  </p:normalViewPr>
  <p:slideViewPr>
    <p:cSldViewPr>
      <p:cViewPr varScale="1">
        <p:scale>
          <a:sx n="106" d="100"/>
          <a:sy n="106" d="100"/>
        </p:scale>
        <p:origin x="1758"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3144" y="-8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an Marcelo Olivares Araya" userId="1d1b6056-80c2-43f8-a487-1679e92d181e" providerId="ADAL" clId="{3D581D96-0840-4B2B-BD4D-EF6BA0CE68FA}"/>
    <pc:docChg chg="undo redo custSel modSld modMainMaster">
      <pc:chgData name="Cristian Marcelo Olivares Araya" userId="1d1b6056-80c2-43f8-a487-1679e92d181e" providerId="ADAL" clId="{3D581D96-0840-4B2B-BD4D-EF6BA0CE68FA}" dt="2022-08-24T18:09:47.160" v="262" actId="729"/>
      <pc:docMkLst>
        <pc:docMk/>
      </pc:docMkLst>
      <pc:sldChg chg="modSp mod">
        <pc:chgData name="Cristian Marcelo Olivares Araya" userId="1d1b6056-80c2-43f8-a487-1679e92d181e" providerId="ADAL" clId="{3D581D96-0840-4B2B-BD4D-EF6BA0CE68FA}" dt="2022-08-24T13:45:46.548" v="48"/>
        <pc:sldMkLst>
          <pc:docMk/>
          <pc:sldMk cId="2106840347" sldId="344"/>
        </pc:sldMkLst>
        <pc:spChg chg="mod">
          <ac:chgData name="Cristian Marcelo Olivares Araya" userId="1d1b6056-80c2-43f8-a487-1679e92d181e" providerId="ADAL" clId="{3D581D96-0840-4B2B-BD4D-EF6BA0CE68FA}" dt="2022-08-24T13:45:46.548" v="48"/>
          <ac:spMkLst>
            <pc:docMk/>
            <pc:sldMk cId="2106840347" sldId="344"/>
            <ac:spMk id="2" creationId="{00000000-0000-0000-0000-000000000000}"/>
          </ac:spMkLst>
        </pc:spChg>
      </pc:sldChg>
      <pc:sldChg chg="modSp mod">
        <pc:chgData name="Cristian Marcelo Olivares Araya" userId="1d1b6056-80c2-43f8-a487-1679e92d181e" providerId="ADAL" clId="{3D581D96-0840-4B2B-BD4D-EF6BA0CE68FA}" dt="2022-08-24T14:11:30.710" v="211" actId="6549"/>
        <pc:sldMkLst>
          <pc:docMk/>
          <pc:sldMk cId="1359721141" sldId="345"/>
        </pc:sldMkLst>
        <pc:spChg chg="mod">
          <ac:chgData name="Cristian Marcelo Olivares Araya" userId="1d1b6056-80c2-43f8-a487-1679e92d181e" providerId="ADAL" clId="{3D581D96-0840-4B2B-BD4D-EF6BA0CE68FA}" dt="2022-08-24T13:45:46.548" v="48"/>
          <ac:spMkLst>
            <pc:docMk/>
            <pc:sldMk cId="1359721141" sldId="345"/>
            <ac:spMk id="2" creationId="{00000000-0000-0000-0000-000000000000}"/>
          </ac:spMkLst>
        </pc:spChg>
        <pc:spChg chg="mod">
          <ac:chgData name="Cristian Marcelo Olivares Araya" userId="1d1b6056-80c2-43f8-a487-1679e92d181e" providerId="ADAL" clId="{3D581D96-0840-4B2B-BD4D-EF6BA0CE68FA}" dt="2022-08-24T14:11:30.710" v="211" actId="6549"/>
          <ac:spMkLst>
            <pc:docMk/>
            <pc:sldMk cId="1359721141" sldId="345"/>
            <ac:spMk id="10"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888148084" sldId="402"/>
        </pc:sldMkLst>
        <pc:spChg chg="mod">
          <ac:chgData name="Cristian Marcelo Olivares Araya" userId="1d1b6056-80c2-43f8-a487-1679e92d181e" providerId="ADAL" clId="{3D581D96-0840-4B2B-BD4D-EF6BA0CE68FA}" dt="2022-08-24T13:45:46.548" v="48"/>
          <ac:spMkLst>
            <pc:docMk/>
            <pc:sldMk cId="888148084" sldId="402"/>
            <ac:spMk id="2" creationId="{00000000-0000-0000-0000-000000000000}"/>
          </ac:spMkLst>
        </pc:spChg>
      </pc:sldChg>
      <pc:sldChg chg="modSp mod">
        <pc:chgData name="Cristian Marcelo Olivares Araya" userId="1d1b6056-80c2-43f8-a487-1679e92d181e" providerId="ADAL" clId="{3D581D96-0840-4B2B-BD4D-EF6BA0CE68FA}" dt="2022-08-24T14:10:42.501" v="210" actId="27636"/>
        <pc:sldMkLst>
          <pc:docMk/>
          <pc:sldMk cId="1761671635" sldId="403"/>
        </pc:sldMkLst>
        <pc:spChg chg="mod">
          <ac:chgData name="Cristian Marcelo Olivares Araya" userId="1d1b6056-80c2-43f8-a487-1679e92d181e" providerId="ADAL" clId="{3D581D96-0840-4B2B-BD4D-EF6BA0CE68FA}" dt="2022-08-24T14:10:42.501" v="210" actId="27636"/>
          <ac:spMkLst>
            <pc:docMk/>
            <pc:sldMk cId="1761671635" sldId="403"/>
            <ac:spMk id="10"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4057073761" sldId="405"/>
        </pc:sldMkLst>
        <pc:spChg chg="mod">
          <ac:chgData name="Cristian Marcelo Olivares Araya" userId="1d1b6056-80c2-43f8-a487-1679e92d181e" providerId="ADAL" clId="{3D581D96-0840-4B2B-BD4D-EF6BA0CE68FA}" dt="2022-08-24T13:45:46.548" v="48"/>
          <ac:spMkLst>
            <pc:docMk/>
            <pc:sldMk cId="4057073761" sldId="405"/>
            <ac:spMk id="6"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06030944" sldId="406"/>
        </pc:sldMkLst>
        <pc:spChg chg="mod">
          <ac:chgData name="Cristian Marcelo Olivares Araya" userId="1d1b6056-80c2-43f8-a487-1679e92d181e" providerId="ADAL" clId="{3D581D96-0840-4B2B-BD4D-EF6BA0CE68FA}" dt="2022-08-24T13:45:46.548" v="48"/>
          <ac:spMkLst>
            <pc:docMk/>
            <pc:sldMk cId="106030944" sldId="406"/>
            <ac:spMk id="6"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513218662" sldId="407"/>
        </pc:sldMkLst>
        <pc:spChg chg="mod">
          <ac:chgData name="Cristian Marcelo Olivares Araya" userId="1d1b6056-80c2-43f8-a487-1679e92d181e" providerId="ADAL" clId="{3D581D96-0840-4B2B-BD4D-EF6BA0CE68FA}" dt="2022-08-24T13:45:46.548" v="48"/>
          <ac:spMkLst>
            <pc:docMk/>
            <pc:sldMk cId="1513218662" sldId="407"/>
            <ac:spMk id="13"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462226124" sldId="408"/>
        </pc:sldMkLst>
        <pc:spChg chg="mod">
          <ac:chgData name="Cristian Marcelo Olivares Araya" userId="1d1b6056-80c2-43f8-a487-1679e92d181e" providerId="ADAL" clId="{3D581D96-0840-4B2B-BD4D-EF6BA0CE68FA}" dt="2022-08-24T13:45:46.548" v="48"/>
          <ac:spMkLst>
            <pc:docMk/>
            <pc:sldMk cId="3462226124" sldId="408"/>
            <ac:spMk id="10"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4277867602" sldId="409"/>
        </pc:sldMkLst>
        <pc:spChg chg="mod">
          <ac:chgData name="Cristian Marcelo Olivares Araya" userId="1d1b6056-80c2-43f8-a487-1679e92d181e" providerId="ADAL" clId="{3D581D96-0840-4B2B-BD4D-EF6BA0CE68FA}" dt="2022-08-24T13:45:46.548" v="48"/>
          <ac:spMkLst>
            <pc:docMk/>
            <pc:sldMk cId="4277867602" sldId="409"/>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2137706642" sldId="416"/>
        </pc:sldMkLst>
        <pc:spChg chg="mod">
          <ac:chgData name="Cristian Marcelo Olivares Araya" userId="1d1b6056-80c2-43f8-a487-1679e92d181e" providerId="ADAL" clId="{3D581D96-0840-4B2B-BD4D-EF6BA0CE68FA}" dt="2022-08-24T13:45:46.548" v="48"/>
          <ac:spMkLst>
            <pc:docMk/>
            <pc:sldMk cId="2137706642" sldId="416"/>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2328318739" sldId="418"/>
        </pc:sldMkLst>
        <pc:spChg chg="mod">
          <ac:chgData name="Cristian Marcelo Olivares Araya" userId="1d1b6056-80c2-43f8-a487-1679e92d181e" providerId="ADAL" clId="{3D581D96-0840-4B2B-BD4D-EF6BA0CE68FA}" dt="2022-08-24T13:45:46.548" v="48"/>
          <ac:spMkLst>
            <pc:docMk/>
            <pc:sldMk cId="2328318739" sldId="418"/>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439418385" sldId="419"/>
        </pc:sldMkLst>
        <pc:spChg chg="mod">
          <ac:chgData name="Cristian Marcelo Olivares Araya" userId="1d1b6056-80c2-43f8-a487-1679e92d181e" providerId="ADAL" clId="{3D581D96-0840-4B2B-BD4D-EF6BA0CE68FA}" dt="2022-08-24T13:45:46.548" v="48"/>
          <ac:spMkLst>
            <pc:docMk/>
            <pc:sldMk cId="3439418385" sldId="419"/>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178947213" sldId="420"/>
        </pc:sldMkLst>
        <pc:spChg chg="mod">
          <ac:chgData name="Cristian Marcelo Olivares Araya" userId="1d1b6056-80c2-43f8-a487-1679e92d181e" providerId="ADAL" clId="{3D581D96-0840-4B2B-BD4D-EF6BA0CE68FA}" dt="2022-08-24T13:45:46.548" v="48"/>
          <ac:spMkLst>
            <pc:docMk/>
            <pc:sldMk cId="1178947213" sldId="420"/>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9644945" sldId="421"/>
        </pc:sldMkLst>
        <pc:spChg chg="mod">
          <ac:chgData name="Cristian Marcelo Olivares Araya" userId="1d1b6056-80c2-43f8-a487-1679e92d181e" providerId="ADAL" clId="{3D581D96-0840-4B2B-BD4D-EF6BA0CE68FA}" dt="2022-08-24T13:45:46.548" v="48"/>
          <ac:spMkLst>
            <pc:docMk/>
            <pc:sldMk cId="19644945" sldId="421"/>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828533469" sldId="422"/>
        </pc:sldMkLst>
        <pc:spChg chg="mod">
          <ac:chgData name="Cristian Marcelo Olivares Araya" userId="1d1b6056-80c2-43f8-a487-1679e92d181e" providerId="ADAL" clId="{3D581D96-0840-4B2B-BD4D-EF6BA0CE68FA}" dt="2022-08-24T13:45:46.548" v="48"/>
          <ac:spMkLst>
            <pc:docMk/>
            <pc:sldMk cId="1828533469" sldId="422"/>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5538721" sldId="424"/>
        </pc:sldMkLst>
        <pc:spChg chg="mod">
          <ac:chgData name="Cristian Marcelo Olivares Araya" userId="1d1b6056-80c2-43f8-a487-1679e92d181e" providerId="ADAL" clId="{3D581D96-0840-4B2B-BD4D-EF6BA0CE68FA}" dt="2022-08-24T13:45:46.548" v="48"/>
          <ac:spMkLst>
            <pc:docMk/>
            <pc:sldMk cId="35538721" sldId="424"/>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333304987" sldId="425"/>
        </pc:sldMkLst>
        <pc:spChg chg="mod">
          <ac:chgData name="Cristian Marcelo Olivares Araya" userId="1d1b6056-80c2-43f8-a487-1679e92d181e" providerId="ADAL" clId="{3D581D96-0840-4B2B-BD4D-EF6BA0CE68FA}" dt="2022-08-24T13:45:46.548" v="48"/>
          <ac:spMkLst>
            <pc:docMk/>
            <pc:sldMk cId="3333304987" sldId="425"/>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238774376" sldId="432"/>
        </pc:sldMkLst>
        <pc:spChg chg="mod">
          <ac:chgData name="Cristian Marcelo Olivares Araya" userId="1d1b6056-80c2-43f8-a487-1679e92d181e" providerId="ADAL" clId="{3D581D96-0840-4B2B-BD4D-EF6BA0CE68FA}" dt="2022-08-24T13:45:46.548" v="48"/>
          <ac:spMkLst>
            <pc:docMk/>
            <pc:sldMk cId="3238774376" sldId="432"/>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457074601" sldId="433"/>
        </pc:sldMkLst>
        <pc:spChg chg="mod">
          <ac:chgData name="Cristian Marcelo Olivares Araya" userId="1d1b6056-80c2-43f8-a487-1679e92d181e" providerId="ADAL" clId="{3D581D96-0840-4B2B-BD4D-EF6BA0CE68FA}" dt="2022-08-24T13:45:46.548" v="48"/>
          <ac:spMkLst>
            <pc:docMk/>
            <pc:sldMk cId="1457074601" sldId="433"/>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780926515" sldId="437"/>
        </pc:sldMkLst>
        <pc:spChg chg="mod">
          <ac:chgData name="Cristian Marcelo Olivares Araya" userId="1d1b6056-80c2-43f8-a487-1679e92d181e" providerId="ADAL" clId="{3D581D96-0840-4B2B-BD4D-EF6BA0CE68FA}" dt="2022-08-24T13:45:46.548" v="48"/>
          <ac:spMkLst>
            <pc:docMk/>
            <pc:sldMk cId="780926515" sldId="437"/>
            <ac:spMk id="9"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052680806" sldId="438"/>
        </pc:sldMkLst>
        <pc:spChg chg="mod">
          <ac:chgData name="Cristian Marcelo Olivares Araya" userId="1d1b6056-80c2-43f8-a487-1679e92d181e" providerId="ADAL" clId="{3D581D96-0840-4B2B-BD4D-EF6BA0CE68FA}" dt="2022-08-24T13:45:46.548" v="48"/>
          <ac:spMkLst>
            <pc:docMk/>
            <pc:sldMk cId="3052680806" sldId="438"/>
            <ac:spMk id="2"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79101877" sldId="439"/>
        </pc:sldMkLst>
        <pc:spChg chg="mod">
          <ac:chgData name="Cristian Marcelo Olivares Araya" userId="1d1b6056-80c2-43f8-a487-1679e92d181e" providerId="ADAL" clId="{3D581D96-0840-4B2B-BD4D-EF6BA0CE68FA}" dt="2022-08-24T13:45:46.548" v="48"/>
          <ac:spMkLst>
            <pc:docMk/>
            <pc:sldMk cId="379101877" sldId="439"/>
            <ac:spMk id="2"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506494880" sldId="442"/>
        </pc:sldMkLst>
        <pc:spChg chg="mod">
          <ac:chgData name="Cristian Marcelo Olivares Araya" userId="1d1b6056-80c2-43f8-a487-1679e92d181e" providerId="ADAL" clId="{3D581D96-0840-4B2B-BD4D-EF6BA0CE68FA}" dt="2022-08-24T13:45:46.548" v="48"/>
          <ac:spMkLst>
            <pc:docMk/>
            <pc:sldMk cId="1506494880" sldId="442"/>
            <ac:spMk id="2" creationId="{00000000-0000-0000-0000-000000000000}"/>
          </ac:spMkLst>
        </pc:spChg>
      </pc:sldChg>
      <pc:sldChg chg="modSp">
        <pc:chgData name="Cristian Marcelo Olivares Araya" userId="1d1b6056-80c2-43f8-a487-1679e92d181e" providerId="ADAL" clId="{3D581D96-0840-4B2B-BD4D-EF6BA0CE68FA}" dt="2022-08-24T13:45:46.548" v="48"/>
        <pc:sldMkLst>
          <pc:docMk/>
          <pc:sldMk cId="386812657" sldId="444"/>
        </pc:sldMkLst>
        <pc:spChg chg="mod">
          <ac:chgData name="Cristian Marcelo Olivares Araya" userId="1d1b6056-80c2-43f8-a487-1679e92d181e" providerId="ADAL" clId="{3D581D96-0840-4B2B-BD4D-EF6BA0CE68FA}" dt="2022-08-24T13:45:46.548" v="48"/>
          <ac:spMkLst>
            <pc:docMk/>
            <pc:sldMk cId="386812657" sldId="444"/>
            <ac:spMk id="2" creationId="{00000000-0000-0000-0000-000000000000}"/>
          </ac:spMkLst>
        </pc:spChg>
      </pc:sldChg>
      <pc:sldChg chg="modSp mod modShow">
        <pc:chgData name="Cristian Marcelo Olivares Araya" userId="1d1b6056-80c2-43f8-a487-1679e92d181e" providerId="ADAL" clId="{3D581D96-0840-4B2B-BD4D-EF6BA0CE68FA}" dt="2022-08-24T18:09:47.160" v="262" actId="729"/>
        <pc:sldMkLst>
          <pc:docMk/>
          <pc:sldMk cId="3992460657" sldId="445"/>
        </pc:sldMkLst>
        <pc:spChg chg="mod">
          <ac:chgData name="Cristian Marcelo Olivares Araya" userId="1d1b6056-80c2-43f8-a487-1679e92d181e" providerId="ADAL" clId="{3D581D96-0840-4B2B-BD4D-EF6BA0CE68FA}" dt="2022-08-24T13:45:46.548" v="48"/>
          <ac:spMkLst>
            <pc:docMk/>
            <pc:sldMk cId="3992460657" sldId="445"/>
            <ac:spMk id="2"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4229982534" sldId="448"/>
        </pc:sldMkLst>
        <pc:spChg chg="mod">
          <ac:chgData name="Cristian Marcelo Olivares Araya" userId="1d1b6056-80c2-43f8-a487-1679e92d181e" providerId="ADAL" clId="{3D581D96-0840-4B2B-BD4D-EF6BA0CE68FA}" dt="2022-08-24T13:45:46.548" v="48"/>
          <ac:spMkLst>
            <pc:docMk/>
            <pc:sldMk cId="4229982534" sldId="448"/>
            <ac:spMk id="2"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4137562349" sldId="450"/>
        </pc:sldMkLst>
        <pc:spChg chg="mod">
          <ac:chgData name="Cristian Marcelo Olivares Araya" userId="1d1b6056-80c2-43f8-a487-1679e92d181e" providerId="ADAL" clId="{3D581D96-0840-4B2B-BD4D-EF6BA0CE68FA}" dt="2022-08-24T13:45:46.548" v="48"/>
          <ac:spMkLst>
            <pc:docMk/>
            <pc:sldMk cId="4137562349" sldId="450"/>
            <ac:spMk id="2" creationId="{00000000-0000-0000-0000-000000000000}"/>
          </ac:spMkLst>
        </pc:spChg>
        <pc:spChg chg="mod">
          <ac:chgData name="Cristian Marcelo Olivares Araya" userId="1d1b6056-80c2-43f8-a487-1679e92d181e" providerId="ADAL" clId="{3D581D96-0840-4B2B-BD4D-EF6BA0CE68FA}" dt="2022-08-24T13:45:46.548" v="48"/>
          <ac:spMkLst>
            <pc:docMk/>
            <pc:sldMk cId="4137562349" sldId="450"/>
            <ac:spMk id="3" creationId="{00000000-0000-0000-0000-000000000000}"/>
          </ac:spMkLst>
        </pc:spChg>
        <pc:spChg chg="mod">
          <ac:chgData name="Cristian Marcelo Olivares Araya" userId="1d1b6056-80c2-43f8-a487-1679e92d181e" providerId="ADAL" clId="{3D581D96-0840-4B2B-BD4D-EF6BA0CE68FA}" dt="2022-08-24T13:45:46.548" v="48"/>
          <ac:spMkLst>
            <pc:docMk/>
            <pc:sldMk cId="4137562349" sldId="450"/>
            <ac:spMk id="4"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712621413" sldId="451"/>
        </pc:sldMkLst>
        <pc:spChg chg="mod">
          <ac:chgData name="Cristian Marcelo Olivares Araya" userId="1d1b6056-80c2-43f8-a487-1679e92d181e" providerId="ADAL" clId="{3D581D96-0840-4B2B-BD4D-EF6BA0CE68FA}" dt="2022-08-24T13:45:46.548" v="48"/>
          <ac:spMkLst>
            <pc:docMk/>
            <pc:sldMk cId="712621413" sldId="451"/>
            <ac:spMk id="2" creationId="{00000000-0000-0000-0000-000000000000}"/>
          </ac:spMkLst>
        </pc:spChg>
        <pc:spChg chg="mod">
          <ac:chgData name="Cristian Marcelo Olivares Araya" userId="1d1b6056-80c2-43f8-a487-1679e92d181e" providerId="ADAL" clId="{3D581D96-0840-4B2B-BD4D-EF6BA0CE68FA}" dt="2022-08-24T13:45:46.548" v="48"/>
          <ac:spMkLst>
            <pc:docMk/>
            <pc:sldMk cId="712621413" sldId="451"/>
            <ac:spMk id="3"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1834154033" sldId="452"/>
        </pc:sldMkLst>
        <pc:spChg chg="mod">
          <ac:chgData name="Cristian Marcelo Olivares Araya" userId="1d1b6056-80c2-43f8-a487-1679e92d181e" providerId="ADAL" clId="{3D581D96-0840-4B2B-BD4D-EF6BA0CE68FA}" dt="2022-08-24T13:45:46.548" v="48"/>
          <ac:spMkLst>
            <pc:docMk/>
            <pc:sldMk cId="1834154033" sldId="452"/>
            <ac:spMk id="2" creationId="{00000000-0000-0000-0000-000000000000}"/>
          </ac:spMkLst>
        </pc:spChg>
        <pc:spChg chg="mod">
          <ac:chgData name="Cristian Marcelo Olivares Araya" userId="1d1b6056-80c2-43f8-a487-1679e92d181e" providerId="ADAL" clId="{3D581D96-0840-4B2B-BD4D-EF6BA0CE68FA}" dt="2022-08-24T13:45:46.548" v="48"/>
          <ac:spMkLst>
            <pc:docMk/>
            <pc:sldMk cId="1834154033" sldId="452"/>
            <ac:spMk id="3" creationId="{00000000-0000-0000-0000-000000000000}"/>
          </ac:spMkLst>
        </pc:spChg>
        <pc:spChg chg="mod">
          <ac:chgData name="Cristian Marcelo Olivares Araya" userId="1d1b6056-80c2-43f8-a487-1679e92d181e" providerId="ADAL" clId="{3D581D96-0840-4B2B-BD4D-EF6BA0CE68FA}" dt="2022-08-24T13:45:46.548" v="48"/>
          <ac:spMkLst>
            <pc:docMk/>
            <pc:sldMk cId="1834154033" sldId="452"/>
            <ac:spMk id="4"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993786819" sldId="454"/>
        </pc:sldMkLst>
        <pc:spChg chg="mod">
          <ac:chgData name="Cristian Marcelo Olivares Araya" userId="1d1b6056-80c2-43f8-a487-1679e92d181e" providerId="ADAL" clId="{3D581D96-0840-4B2B-BD4D-EF6BA0CE68FA}" dt="2022-08-24T13:45:46.548" v="48"/>
          <ac:spMkLst>
            <pc:docMk/>
            <pc:sldMk cId="993786819" sldId="454"/>
            <ac:spMk id="2" creationId="{00000000-0000-0000-0000-000000000000}"/>
          </ac:spMkLst>
        </pc:spChg>
        <pc:spChg chg="mod">
          <ac:chgData name="Cristian Marcelo Olivares Araya" userId="1d1b6056-80c2-43f8-a487-1679e92d181e" providerId="ADAL" clId="{3D581D96-0840-4B2B-BD4D-EF6BA0CE68FA}" dt="2022-08-24T13:45:46.548" v="48"/>
          <ac:spMkLst>
            <pc:docMk/>
            <pc:sldMk cId="993786819" sldId="454"/>
            <ac:spMk id="3" creationId="{00000000-0000-0000-0000-000000000000}"/>
          </ac:spMkLst>
        </pc:spChg>
        <pc:spChg chg="mod">
          <ac:chgData name="Cristian Marcelo Olivares Araya" userId="1d1b6056-80c2-43f8-a487-1679e92d181e" providerId="ADAL" clId="{3D581D96-0840-4B2B-BD4D-EF6BA0CE68FA}" dt="2022-08-24T13:45:46.548" v="48"/>
          <ac:spMkLst>
            <pc:docMk/>
            <pc:sldMk cId="993786819" sldId="454"/>
            <ac:spMk id="4" creationId="{00000000-0000-0000-0000-000000000000}"/>
          </ac:spMkLst>
        </pc:spChg>
      </pc:sldChg>
      <pc:sldChg chg="modSp mod">
        <pc:chgData name="Cristian Marcelo Olivares Araya" userId="1d1b6056-80c2-43f8-a487-1679e92d181e" providerId="ADAL" clId="{3D581D96-0840-4B2B-BD4D-EF6BA0CE68FA}" dt="2022-08-24T13:45:46.548" v="48"/>
        <pc:sldMkLst>
          <pc:docMk/>
          <pc:sldMk cId="3369662916" sldId="456"/>
        </pc:sldMkLst>
        <pc:spChg chg="mod">
          <ac:chgData name="Cristian Marcelo Olivares Araya" userId="1d1b6056-80c2-43f8-a487-1679e92d181e" providerId="ADAL" clId="{3D581D96-0840-4B2B-BD4D-EF6BA0CE68FA}" dt="2022-08-24T13:45:46.548" v="48"/>
          <ac:spMkLst>
            <pc:docMk/>
            <pc:sldMk cId="3369662916" sldId="456"/>
            <ac:spMk id="2" creationId="{00000000-0000-0000-0000-000000000000}"/>
          </ac:spMkLst>
        </pc:spChg>
        <pc:spChg chg="mod">
          <ac:chgData name="Cristian Marcelo Olivares Araya" userId="1d1b6056-80c2-43f8-a487-1679e92d181e" providerId="ADAL" clId="{3D581D96-0840-4B2B-BD4D-EF6BA0CE68FA}" dt="2022-08-24T13:45:46.548" v="48"/>
          <ac:spMkLst>
            <pc:docMk/>
            <pc:sldMk cId="3369662916" sldId="456"/>
            <ac:spMk id="3" creationId="{00000000-0000-0000-0000-000000000000}"/>
          </ac:spMkLst>
        </pc:spChg>
        <pc:spChg chg="mod">
          <ac:chgData name="Cristian Marcelo Olivares Araya" userId="1d1b6056-80c2-43f8-a487-1679e92d181e" providerId="ADAL" clId="{3D581D96-0840-4B2B-BD4D-EF6BA0CE68FA}" dt="2022-08-24T13:45:46.548" v="48"/>
          <ac:spMkLst>
            <pc:docMk/>
            <pc:sldMk cId="3369662916" sldId="456"/>
            <ac:spMk id="4" creationId="{00000000-0000-0000-0000-000000000000}"/>
          </ac:spMkLst>
        </pc:spChg>
      </pc:sldChg>
      <pc:sldMasterChg chg="modSldLayout">
        <pc:chgData name="Cristian Marcelo Olivares Araya" userId="1d1b6056-80c2-43f8-a487-1679e92d181e" providerId="ADAL" clId="{3D581D96-0840-4B2B-BD4D-EF6BA0CE68FA}" dt="2022-08-24T14:18:03.835" v="261"/>
        <pc:sldMasterMkLst>
          <pc:docMk/>
          <pc:sldMasterMk cId="3299921331" sldId="2147483648"/>
        </pc:sldMasterMkLst>
        <pc:sldLayoutChg chg="addSp delSp modSp mod">
          <pc:chgData name="Cristian Marcelo Olivares Araya" userId="1d1b6056-80c2-43f8-a487-1679e92d181e" providerId="ADAL" clId="{3D581D96-0840-4B2B-BD4D-EF6BA0CE68FA}" dt="2022-08-24T14:17:58.105" v="259" actId="164"/>
          <pc:sldLayoutMkLst>
            <pc:docMk/>
            <pc:sldMasterMk cId="3299921331" sldId="2147483648"/>
            <pc:sldLayoutMk cId="2704222164" sldId="2147483651"/>
          </pc:sldLayoutMkLst>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6" creationId="{D6F96FBF-F700-D9EC-5E36-F834B99EC77B}"/>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7" creationId="{908877A0-2C85-C105-BC5B-54F52B21D6F9}"/>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8" creationId="{DF5E8F79-5C60-6C65-771D-4F2E8803C716}"/>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9" creationId="{3040AAEB-FA2B-7A24-6AA6-F2AA1CE1EEC5}"/>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10" creationId="{B16FCBDC-3497-5FC7-F568-9658D57BEF75}"/>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11" creationId="{0555CC90-992A-9138-F431-0C78DBF1DF2A}"/>
            </ac:spMkLst>
          </pc:spChg>
          <pc:spChg chg="mod">
            <ac:chgData name="Cristian Marcelo Olivares Araya" userId="1d1b6056-80c2-43f8-a487-1679e92d181e" providerId="ADAL" clId="{3D581D96-0840-4B2B-BD4D-EF6BA0CE68FA}" dt="2022-08-24T14:09:33.816" v="199"/>
            <ac:spMkLst>
              <pc:docMk/>
              <pc:sldMasterMk cId="3299921331" sldId="2147483648"/>
              <pc:sldLayoutMk cId="2704222164" sldId="2147483651"/>
              <ac:spMk id="12" creationId="{38285350-9AD1-71B7-7056-049C09680511}"/>
            </ac:spMkLst>
          </pc:spChg>
          <pc:spChg chg="add mod">
            <ac:chgData name="Cristian Marcelo Olivares Araya" userId="1d1b6056-80c2-43f8-a487-1679e92d181e" providerId="ADAL" clId="{3D581D96-0840-4B2B-BD4D-EF6BA0CE68FA}" dt="2022-08-24T14:17:58.105" v="259" actId="164"/>
            <ac:spMkLst>
              <pc:docMk/>
              <pc:sldMasterMk cId="3299921331" sldId="2147483648"/>
              <pc:sldLayoutMk cId="2704222164" sldId="2147483651"/>
              <ac:spMk id="15" creationId="{D558D614-7885-AAAA-7654-668F891298FF}"/>
            </ac:spMkLst>
          </pc:spChg>
          <pc:grpChg chg="add mod">
            <ac:chgData name="Cristian Marcelo Olivares Araya" userId="1d1b6056-80c2-43f8-a487-1679e92d181e" providerId="ADAL" clId="{3D581D96-0840-4B2B-BD4D-EF6BA0CE68FA}" dt="2022-08-24T14:17:58.105" v="259" actId="164"/>
            <ac:grpSpMkLst>
              <pc:docMk/>
              <pc:sldMasterMk cId="3299921331" sldId="2147483648"/>
              <pc:sldLayoutMk cId="2704222164" sldId="2147483651"/>
              <ac:grpSpMk id="5" creationId="{6B1CDEF8-E36D-428F-0450-9A8EEE0AB413}"/>
            </ac:grpSpMkLst>
          </pc:grpChg>
          <pc:grpChg chg="add mod">
            <ac:chgData name="Cristian Marcelo Olivares Araya" userId="1d1b6056-80c2-43f8-a487-1679e92d181e" providerId="ADAL" clId="{3D581D96-0840-4B2B-BD4D-EF6BA0CE68FA}" dt="2022-08-24T14:17:58.105" v="259" actId="164"/>
            <ac:grpSpMkLst>
              <pc:docMk/>
              <pc:sldMasterMk cId="3299921331" sldId="2147483648"/>
              <pc:sldLayoutMk cId="2704222164" sldId="2147483651"/>
              <ac:grpSpMk id="16" creationId="{47946ACD-B949-E741-63D2-BF362D099E08}"/>
            </ac:grpSpMkLst>
          </pc:grpChg>
          <pc:picChg chg="del">
            <ac:chgData name="Cristian Marcelo Olivares Araya" userId="1d1b6056-80c2-43f8-a487-1679e92d181e" providerId="ADAL" clId="{3D581D96-0840-4B2B-BD4D-EF6BA0CE68FA}" dt="2022-08-24T14:10:00.314" v="205" actId="478"/>
            <ac:picMkLst>
              <pc:docMk/>
              <pc:sldMasterMk cId="3299921331" sldId="2147483648"/>
              <pc:sldLayoutMk cId="2704222164" sldId="2147483651"/>
              <ac:picMk id="10242" creationId="{00000000-0000-0000-0000-000000000000}"/>
            </ac:picMkLst>
          </pc:picChg>
          <pc:cxnChg chg="del mod">
            <ac:chgData name="Cristian Marcelo Olivares Araya" userId="1d1b6056-80c2-43f8-a487-1679e92d181e" providerId="ADAL" clId="{3D581D96-0840-4B2B-BD4D-EF6BA0CE68FA}" dt="2022-08-24T14:17:25.606" v="253" actId="478"/>
            <ac:cxnSpMkLst>
              <pc:docMk/>
              <pc:sldMasterMk cId="3299921331" sldId="2147483648"/>
              <pc:sldLayoutMk cId="2704222164" sldId="2147483651"/>
              <ac:cxnSpMk id="13" creationId="{4D40D7E0-20F0-D8D0-54E1-AF09DFB37350}"/>
            </ac:cxnSpMkLst>
          </pc:cxnChg>
          <pc:cxnChg chg="del mod">
            <ac:chgData name="Cristian Marcelo Olivares Araya" userId="1d1b6056-80c2-43f8-a487-1679e92d181e" providerId="ADAL" clId="{3D581D96-0840-4B2B-BD4D-EF6BA0CE68FA}" dt="2022-08-24T14:17:23.336" v="252" actId="478"/>
            <ac:cxnSpMkLst>
              <pc:docMk/>
              <pc:sldMasterMk cId="3299921331" sldId="2147483648"/>
              <pc:sldLayoutMk cId="2704222164" sldId="2147483651"/>
              <ac:cxnSpMk id="14" creationId="{4D4A1489-864D-AA46-3234-AAEF93D93CE9}"/>
            </ac:cxnSpMkLst>
          </pc:cxnChg>
        </pc:sldLayoutChg>
        <pc:sldLayoutChg chg="addSp delSp modSp mod">
          <pc:chgData name="Cristian Marcelo Olivares Araya" userId="1d1b6056-80c2-43f8-a487-1679e92d181e" providerId="ADAL" clId="{3D581D96-0840-4B2B-BD4D-EF6BA0CE68FA}" dt="2022-08-24T14:18:03.835" v="261"/>
          <pc:sldLayoutMkLst>
            <pc:docMk/>
            <pc:sldMasterMk cId="3299921331" sldId="2147483648"/>
            <pc:sldLayoutMk cId="3389150086" sldId="2147483653"/>
          </pc:sldLayoutMkLst>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0" creationId="{6698CF56-2CF6-575F-0376-39B1889A3B73}"/>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1" creationId="{BE6A8D4E-A3AE-4401-82EE-C7E8AE8CA766}"/>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2" creationId="{60D6499F-3991-CD25-D27A-5175073D80A4}"/>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3" creationId="{85D3B4F0-6498-B9CB-2164-67DC9EE3B370}"/>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4" creationId="{E1D66E20-DF09-1945-21BD-754A7204102C}"/>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5" creationId="{2B95EB5A-C975-AF36-E116-A0DD55088F22}"/>
            </ac:spMkLst>
          </pc:spChg>
          <pc:spChg chg="mod">
            <ac:chgData name="Cristian Marcelo Olivares Araya" userId="1d1b6056-80c2-43f8-a487-1679e92d181e" providerId="ADAL" clId="{3D581D96-0840-4B2B-BD4D-EF6BA0CE68FA}" dt="2022-08-24T14:10:08.862" v="208"/>
            <ac:spMkLst>
              <pc:docMk/>
              <pc:sldMasterMk cId="3299921331" sldId="2147483648"/>
              <pc:sldLayoutMk cId="3389150086" sldId="2147483653"/>
              <ac:spMk id="16" creationId="{21B5209C-B613-2347-7E20-503E04E98AF1}"/>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1" creationId="{EA48AAC7-E502-1BA4-69AC-473F5722CA0A}"/>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2" creationId="{6EF4FD74-442D-E6D6-456A-69C2C049555F}"/>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3" creationId="{49B6BC03-6F25-6615-D45B-029FFEF01246}"/>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4" creationId="{CA77D6A5-F98F-4D0F-7E7F-A9138A108FCE}"/>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5" creationId="{896E2C75-29A0-581F-1D49-8434F0F27014}"/>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6" creationId="{0971326E-9717-C540-758E-7A00700D8A33}"/>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7" creationId="{C1209CC1-2BC9-8A13-7A01-28B7B4B932C0}"/>
            </ac:spMkLst>
          </pc:spChg>
          <pc:spChg chg="mod">
            <ac:chgData name="Cristian Marcelo Olivares Araya" userId="1d1b6056-80c2-43f8-a487-1679e92d181e" providerId="ADAL" clId="{3D581D96-0840-4B2B-BD4D-EF6BA0CE68FA}" dt="2022-08-24T14:18:03.835" v="261"/>
            <ac:spMkLst>
              <pc:docMk/>
              <pc:sldMasterMk cId="3299921331" sldId="2147483648"/>
              <pc:sldLayoutMk cId="3389150086" sldId="2147483653"/>
              <ac:spMk id="28" creationId="{77FDD876-DE3B-86D1-0957-C3A1DCFE5BE2}"/>
            </ac:spMkLst>
          </pc:spChg>
          <pc:grpChg chg="add del mod">
            <ac:chgData name="Cristian Marcelo Olivares Araya" userId="1d1b6056-80c2-43f8-a487-1679e92d181e" providerId="ADAL" clId="{3D581D96-0840-4B2B-BD4D-EF6BA0CE68FA}" dt="2022-08-24T14:18:02.800" v="260" actId="478"/>
            <ac:grpSpMkLst>
              <pc:docMk/>
              <pc:sldMasterMk cId="3299921331" sldId="2147483648"/>
              <pc:sldLayoutMk cId="3389150086" sldId="2147483653"/>
              <ac:grpSpMk id="7" creationId="{4EBAC8FC-EBB2-C519-CD8C-7E76283E1471}"/>
            </ac:grpSpMkLst>
          </pc:grpChg>
          <pc:grpChg chg="add mod">
            <ac:chgData name="Cristian Marcelo Olivares Araya" userId="1d1b6056-80c2-43f8-a487-1679e92d181e" providerId="ADAL" clId="{3D581D96-0840-4B2B-BD4D-EF6BA0CE68FA}" dt="2022-08-24T14:18:03.835" v="261"/>
            <ac:grpSpMkLst>
              <pc:docMk/>
              <pc:sldMasterMk cId="3299921331" sldId="2147483648"/>
              <pc:sldLayoutMk cId="3389150086" sldId="2147483653"/>
              <ac:grpSpMk id="19" creationId="{7C31AB0B-99E6-0C3B-6104-BC8867EB82C2}"/>
            </ac:grpSpMkLst>
          </pc:grpChg>
          <pc:grpChg chg="mod">
            <ac:chgData name="Cristian Marcelo Olivares Araya" userId="1d1b6056-80c2-43f8-a487-1679e92d181e" providerId="ADAL" clId="{3D581D96-0840-4B2B-BD4D-EF6BA0CE68FA}" dt="2022-08-24T14:18:03.835" v="261"/>
            <ac:grpSpMkLst>
              <pc:docMk/>
              <pc:sldMasterMk cId="3299921331" sldId="2147483648"/>
              <pc:sldLayoutMk cId="3389150086" sldId="2147483653"/>
              <ac:grpSpMk id="20" creationId="{C594812C-D337-D555-0818-FC91E3F0C52D}"/>
            </ac:grpSpMkLst>
          </pc:grpChg>
          <pc:picChg chg="del">
            <ac:chgData name="Cristian Marcelo Olivares Araya" userId="1d1b6056-80c2-43f8-a487-1679e92d181e" providerId="ADAL" clId="{3D581D96-0840-4B2B-BD4D-EF6BA0CE68FA}" dt="2022-08-24T14:10:07.923" v="207" actId="478"/>
            <ac:picMkLst>
              <pc:docMk/>
              <pc:sldMasterMk cId="3299921331" sldId="2147483648"/>
              <pc:sldLayoutMk cId="3389150086" sldId="2147483653"/>
              <ac:picMk id="5" creationId="{75D2FA9B-E203-82D6-D31E-46BB3CE32146}"/>
            </ac:picMkLst>
          </pc:picChg>
          <pc:cxnChg chg="mod">
            <ac:chgData name="Cristian Marcelo Olivares Araya" userId="1d1b6056-80c2-43f8-a487-1679e92d181e" providerId="ADAL" clId="{3D581D96-0840-4B2B-BD4D-EF6BA0CE68FA}" dt="2022-08-24T14:10:08.862" v="208"/>
            <ac:cxnSpMkLst>
              <pc:docMk/>
              <pc:sldMasterMk cId="3299921331" sldId="2147483648"/>
              <pc:sldLayoutMk cId="3389150086" sldId="2147483653"/>
              <ac:cxnSpMk id="17" creationId="{02A584A6-55A8-BABF-1C86-FE40C01DC077}"/>
            </ac:cxnSpMkLst>
          </pc:cxnChg>
          <pc:cxnChg chg="mod">
            <ac:chgData name="Cristian Marcelo Olivares Araya" userId="1d1b6056-80c2-43f8-a487-1679e92d181e" providerId="ADAL" clId="{3D581D96-0840-4B2B-BD4D-EF6BA0CE68FA}" dt="2022-08-24T14:10:08.862" v="208"/>
            <ac:cxnSpMkLst>
              <pc:docMk/>
              <pc:sldMasterMk cId="3299921331" sldId="2147483648"/>
              <pc:sldLayoutMk cId="3389150086" sldId="2147483653"/>
              <ac:cxnSpMk id="18" creationId="{27163DC9-8C0E-98DC-B75A-434A6E47ED81}"/>
            </ac:cxnSpMkLst>
          </pc:cxnChg>
        </pc:sldLayoutChg>
        <pc:sldLayoutChg chg="addSp delSp modSp mod">
          <pc:chgData name="Cristian Marcelo Olivares Araya" userId="1d1b6056-80c2-43f8-a487-1679e92d181e" providerId="ADAL" clId="{3D581D96-0840-4B2B-BD4D-EF6BA0CE68FA}" dt="2022-08-24T14:16:11.978" v="235" actId="167"/>
          <pc:sldLayoutMkLst>
            <pc:docMk/>
            <pc:sldMasterMk cId="3299921331" sldId="2147483648"/>
            <pc:sldLayoutMk cId="3518144559" sldId="2147483661"/>
          </pc:sldLayoutMkLst>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4" creationId="{07766206-D477-8AC7-70F2-C13ABF1E5112}"/>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5" creationId="{52C32FDA-6B3D-DBB2-4887-496071AB5895}"/>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7" creationId="{9EAFA88C-3AB2-43B9-9F59-3CDB892B76A0}"/>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9" creationId="{A42C85B2-F93E-D691-DF3D-E82A17FEB43B}"/>
            </ac:spMkLst>
          </pc:spChg>
          <pc:spChg chg="ord">
            <ac:chgData name="Cristian Marcelo Olivares Araya" userId="1d1b6056-80c2-43f8-a487-1679e92d181e" providerId="ADAL" clId="{3D581D96-0840-4B2B-BD4D-EF6BA0CE68FA}" dt="2022-08-24T13:55:12.951" v="156" actId="166"/>
            <ac:spMkLst>
              <pc:docMk/>
              <pc:sldMasterMk cId="3299921331" sldId="2147483648"/>
              <pc:sldLayoutMk cId="3518144559" sldId="2147483661"/>
              <ac:spMk id="10" creationId="{00000000-0000-0000-0000-000000000000}"/>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11" creationId="{C71DFFE1-3D72-8AC0-3CC0-5E8C03E01757}"/>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12" creationId="{F73A18E0-5C34-05CB-C94C-74D3D66427AD}"/>
            </ac:spMkLst>
          </pc:spChg>
          <pc:spChg chg="mod">
            <ac:chgData name="Cristian Marcelo Olivares Araya" userId="1d1b6056-80c2-43f8-a487-1679e92d181e" providerId="ADAL" clId="{3D581D96-0840-4B2B-BD4D-EF6BA0CE68FA}" dt="2022-08-24T13:54:33.778" v="149"/>
            <ac:spMkLst>
              <pc:docMk/>
              <pc:sldMasterMk cId="3299921331" sldId="2147483648"/>
              <pc:sldLayoutMk cId="3518144559" sldId="2147483661"/>
              <ac:spMk id="13" creationId="{6774603C-261B-C250-F2B2-8956C30B4866}"/>
            </ac:spMkLst>
          </pc:spChg>
          <pc:spChg chg="add mod">
            <ac:chgData name="Cristian Marcelo Olivares Araya" userId="1d1b6056-80c2-43f8-a487-1679e92d181e" providerId="ADAL" clId="{3D581D96-0840-4B2B-BD4D-EF6BA0CE68FA}" dt="2022-08-24T14:15:56.820" v="233" actId="164"/>
            <ac:spMkLst>
              <pc:docMk/>
              <pc:sldMasterMk cId="3299921331" sldId="2147483648"/>
              <pc:sldLayoutMk cId="3518144559" sldId="2147483661"/>
              <ac:spMk id="18" creationId="{C27DB9A9-D86B-11A0-6726-05F810C91B5B}"/>
            </ac:spMkLst>
          </pc:spChg>
          <pc:grpChg chg="add mod ord">
            <ac:chgData name="Cristian Marcelo Olivares Araya" userId="1d1b6056-80c2-43f8-a487-1679e92d181e" providerId="ADAL" clId="{3D581D96-0840-4B2B-BD4D-EF6BA0CE68FA}" dt="2022-08-24T14:15:56.820" v="233" actId="164"/>
            <ac:grpSpMkLst>
              <pc:docMk/>
              <pc:sldMasterMk cId="3299921331" sldId="2147483648"/>
              <pc:sldLayoutMk cId="3518144559" sldId="2147483661"/>
              <ac:grpSpMk id="3" creationId="{C086098B-A04E-288F-3DF7-B1B4A6C239F5}"/>
            </ac:grpSpMkLst>
          </pc:grpChg>
          <pc:grpChg chg="add mod ord">
            <ac:chgData name="Cristian Marcelo Olivares Araya" userId="1d1b6056-80c2-43f8-a487-1679e92d181e" providerId="ADAL" clId="{3D581D96-0840-4B2B-BD4D-EF6BA0CE68FA}" dt="2022-08-24T14:16:08.405" v="234" actId="167"/>
            <ac:grpSpMkLst>
              <pc:docMk/>
              <pc:sldMasterMk cId="3299921331" sldId="2147483648"/>
              <pc:sldLayoutMk cId="3518144559" sldId="2147483661"/>
              <ac:grpSpMk id="19" creationId="{D8F7E0C4-6F34-CEAF-4E92-5C9FF2B85FE4}"/>
            </ac:grpSpMkLst>
          </pc:grpChg>
          <pc:picChg chg="mod">
            <ac:chgData name="Cristian Marcelo Olivares Araya" userId="1d1b6056-80c2-43f8-a487-1679e92d181e" providerId="ADAL" clId="{3D581D96-0840-4B2B-BD4D-EF6BA0CE68FA}" dt="2022-08-24T14:16:11.978" v="235" actId="167"/>
            <ac:picMkLst>
              <pc:docMk/>
              <pc:sldMasterMk cId="3299921331" sldId="2147483648"/>
              <pc:sldLayoutMk cId="3518144559" sldId="2147483661"/>
              <ac:picMk id="3074" creationId="{00000000-0000-0000-0000-000000000000}"/>
            </ac:picMkLst>
          </pc:picChg>
          <pc:cxnChg chg="del mod">
            <ac:chgData name="Cristian Marcelo Olivares Araya" userId="1d1b6056-80c2-43f8-a487-1679e92d181e" providerId="ADAL" clId="{3D581D96-0840-4B2B-BD4D-EF6BA0CE68FA}" dt="2022-08-24T14:15:24.295" v="227" actId="478"/>
            <ac:cxnSpMkLst>
              <pc:docMk/>
              <pc:sldMasterMk cId="3299921331" sldId="2147483648"/>
              <pc:sldLayoutMk cId="3518144559" sldId="2147483661"/>
              <ac:cxnSpMk id="14" creationId="{DF3D1C5E-53CC-5136-BDEC-7BB99DD35BD0}"/>
            </ac:cxnSpMkLst>
          </pc:cxnChg>
          <pc:cxnChg chg="del mod">
            <ac:chgData name="Cristian Marcelo Olivares Araya" userId="1d1b6056-80c2-43f8-a487-1679e92d181e" providerId="ADAL" clId="{3D581D96-0840-4B2B-BD4D-EF6BA0CE68FA}" dt="2022-08-24T14:15:20.659" v="226" actId="478"/>
            <ac:cxnSpMkLst>
              <pc:docMk/>
              <pc:sldMasterMk cId="3299921331" sldId="2147483648"/>
              <pc:sldLayoutMk cId="3518144559" sldId="2147483661"/>
              <ac:cxnSpMk id="15" creationId="{B2936B98-84A8-D5BE-6BFF-37DB1A19534B}"/>
            </ac:cxnSpMkLst>
          </pc:cxnChg>
        </pc:sldLayoutChg>
        <pc:sldLayoutChg chg="addSp modSp mod">
          <pc:chgData name="Cristian Marcelo Olivares Araya" userId="1d1b6056-80c2-43f8-a487-1679e92d181e" providerId="ADAL" clId="{3D581D96-0840-4B2B-BD4D-EF6BA0CE68FA}" dt="2022-08-24T13:46:10.110" v="49" actId="207"/>
          <pc:sldLayoutMkLst>
            <pc:docMk/>
            <pc:sldMasterMk cId="3299921331" sldId="2147483648"/>
            <pc:sldLayoutMk cId="4102010171" sldId="2147483662"/>
          </pc:sldLayoutMkLst>
          <pc:spChg chg="add mod">
            <ac:chgData name="Cristian Marcelo Olivares Araya" userId="1d1b6056-80c2-43f8-a487-1679e92d181e" providerId="ADAL" clId="{3D581D96-0840-4B2B-BD4D-EF6BA0CE68FA}" dt="2022-08-24T13:45:00.123" v="16" actId="1076"/>
            <ac:spMkLst>
              <pc:docMk/>
              <pc:sldMasterMk cId="3299921331" sldId="2147483648"/>
              <pc:sldLayoutMk cId="4102010171" sldId="2147483662"/>
              <ac:spMk id="5" creationId="{3F2E82FB-57AE-2056-209A-362981A067A7}"/>
            </ac:spMkLst>
          </pc:spChg>
          <pc:spChg chg="add mod">
            <ac:chgData name="Cristian Marcelo Olivares Araya" userId="1d1b6056-80c2-43f8-a487-1679e92d181e" providerId="ADAL" clId="{3D581D96-0840-4B2B-BD4D-EF6BA0CE68FA}" dt="2022-08-24T13:45:00.123" v="16" actId="1076"/>
            <ac:spMkLst>
              <pc:docMk/>
              <pc:sldMasterMk cId="3299921331" sldId="2147483648"/>
              <pc:sldLayoutMk cId="4102010171" sldId="2147483662"/>
              <ac:spMk id="7" creationId="{B841B70E-ED53-D5F4-AAC1-87D1CCB84F8C}"/>
            </ac:spMkLst>
          </pc:spChg>
          <pc:spChg chg="add mod">
            <ac:chgData name="Cristian Marcelo Olivares Araya" userId="1d1b6056-80c2-43f8-a487-1679e92d181e" providerId="ADAL" clId="{3D581D96-0840-4B2B-BD4D-EF6BA0CE68FA}" dt="2022-08-24T13:45:00.123" v="16" actId="1076"/>
            <ac:spMkLst>
              <pc:docMk/>
              <pc:sldMasterMk cId="3299921331" sldId="2147483648"/>
              <pc:sldLayoutMk cId="4102010171" sldId="2147483662"/>
              <ac:spMk id="9" creationId="{6ABF27A2-3DE8-93B0-C688-1A9E4ACC5B3F}"/>
            </ac:spMkLst>
          </pc:spChg>
          <pc:spChg chg="add mod">
            <ac:chgData name="Cristian Marcelo Olivares Araya" userId="1d1b6056-80c2-43f8-a487-1679e92d181e" providerId="ADAL" clId="{3D581D96-0840-4B2B-BD4D-EF6BA0CE68FA}" dt="2022-08-24T13:46:10.110" v="49" actId="207"/>
            <ac:spMkLst>
              <pc:docMk/>
              <pc:sldMasterMk cId="3299921331" sldId="2147483648"/>
              <pc:sldLayoutMk cId="4102010171" sldId="2147483662"/>
              <ac:spMk id="10" creationId="{AA5C702E-43F5-8327-6030-0D8BBAB0A5D4}"/>
            </ac:spMkLst>
          </pc:spChg>
          <pc:picChg chg="mod">
            <ac:chgData name="Cristian Marcelo Olivares Araya" userId="1d1b6056-80c2-43f8-a487-1679e92d181e" providerId="ADAL" clId="{3D581D96-0840-4B2B-BD4D-EF6BA0CE68FA}" dt="2022-08-24T13:38:43.918" v="1" actId="14100"/>
            <ac:picMkLst>
              <pc:docMk/>
              <pc:sldMasterMk cId="3299921331" sldId="2147483648"/>
              <pc:sldLayoutMk cId="4102010171" sldId="2147483662"/>
              <ac:picMk id="4" creationId="{00000000-0000-0000-0000-000000000000}"/>
            </ac:picMkLst>
          </pc:picChg>
          <pc:picChg chg="mod">
            <ac:chgData name="Cristian Marcelo Olivares Araya" userId="1d1b6056-80c2-43f8-a487-1679e92d181e" providerId="ADAL" clId="{3D581D96-0840-4B2B-BD4D-EF6BA0CE68FA}" dt="2022-08-24T13:39:32.053" v="2" actId="14826"/>
            <ac:picMkLst>
              <pc:docMk/>
              <pc:sldMasterMk cId="3299921331" sldId="2147483648"/>
              <pc:sldLayoutMk cId="4102010171" sldId="2147483662"/>
              <ac:picMk id="8" creationId="{87E89FC2-127F-B2B5-12C8-198D72BF8E0D}"/>
            </ac:picMkLst>
          </pc:picChg>
        </pc:sldLayoutChg>
        <pc:sldLayoutChg chg="addSp delSp modSp mod">
          <pc:chgData name="Cristian Marcelo Olivares Araya" userId="1d1b6056-80c2-43f8-a487-1679e92d181e" providerId="ADAL" clId="{3D581D96-0840-4B2B-BD4D-EF6BA0CE68FA}" dt="2022-08-24T14:16:33.806" v="238" actId="171"/>
          <pc:sldLayoutMkLst>
            <pc:docMk/>
            <pc:sldMasterMk cId="3299921331" sldId="2147483648"/>
            <pc:sldLayoutMk cId="2888495637" sldId="2147483664"/>
          </pc:sldLayoutMkLst>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5" creationId="{D54CEC03-AC5B-E2C6-0F88-CC2248A79CED}"/>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7" creationId="{EA78DECC-FA6B-559A-79B6-32514BA6D140}"/>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9" creationId="{8D08354C-51CB-769E-05F6-2508BBCB8568}"/>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11" creationId="{DD0E85FC-D669-85BD-D87F-4318615CEFD5}"/>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12" creationId="{724E99AE-C445-7B95-3B7B-56D4099852FC}"/>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13" creationId="{754F784D-BE51-AF78-63BE-9EB20B1F572F}"/>
            </ac:spMkLst>
          </pc:spChg>
          <pc:spChg chg="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14" creationId="{57A27EFD-964F-B1C7-4708-46CFBF438D0C}"/>
            </ac:spMkLst>
          </pc:spChg>
          <pc:spChg chg="add mod">
            <ac:chgData name="Cristian Marcelo Olivares Araya" userId="1d1b6056-80c2-43f8-a487-1679e92d181e" providerId="ADAL" clId="{3D581D96-0840-4B2B-BD4D-EF6BA0CE68FA}" dt="2022-08-24T13:55:59.144" v="167" actId="1076"/>
            <ac:spMkLst>
              <pc:docMk/>
              <pc:sldMasterMk cId="3299921331" sldId="2147483648"/>
              <pc:sldLayoutMk cId="2888495637" sldId="2147483664"/>
              <ac:spMk id="17" creationId="{60374C73-4CD8-3A87-5232-1854201EF22D}"/>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0" creationId="{01858FA9-062A-738F-35F6-690A2BBF7979}"/>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1" creationId="{E0F66362-5F10-4F2A-AB3A-1528C2B9D2F8}"/>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2" creationId="{DF76516A-2037-8B07-4834-ADA1912A02FF}"/>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3" creationId="{8610DCCF-9328-5886-9EB4-20C2AD60B658}"/>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4" creationId="{622B2029-CBB6-6E0C-288D-9FE886075A83}"/>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5" creationId="{8C379AA0-F2E2-4913-2D77-E7FD14DD989D}"/>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6" creationId="{C3B259CC-C521-940D-D528-8BE7D8BF6E8C}"/>
            </ac:spMkLst>
          </pc:spChg>
          <pc:spChg chg="mod">
            <ac:chgData name="Cristian Marcelo Olivares Araya" userId="1d1b6056-80c2-43f8-a487-1679e92d181e" providerId="ADAL" clId="{3D581D96-0840-4B2B-BD4D-EF6BA0CE68FA}" dt="2022-08-24T14:16:26.577" v="237"/>
            <ac:spMkLst>
              <pc:docMk/>
              <pc:sldMasterMk cId="3299921331" sldId="2147483648"/>
              <pc:sldLayoutMk cId="2888495637" sldId="2147483664"/>
              <ac:spMk id="27" creationId="{990C6BCA-C22A-ECEA-A42D-3D6F43AFD650}"/>
            </ac:spMkLst>
          </pc:spChg>
          <pc:grpChg chg="add del mod">
            <ac:chgData name="Cristian Marcelo Olivares Araya" userId="1d1b6056-80c2-43f8-a487-1679e92d181e" providerId="ADAL" clId="{3D581D96-0840-4B2B-BD4D-EF6BA0CE68FA}" dt="2022-08-24T14:16:26.034" v="236" actId="478"/>
            <ac:grpSpMkLst>
              <pc:docMk/>
              <pc:sldMasterMk cId="3299921331" sldId="2147483648"/>
              <pc:sldLayoutMk cId="2888495637" sldId="2147483664"/>
              <ac:grpSpMk id="4" creationId="{06528732-85D7-7448-BF86-76FEF93E42D7}"/>
            </ac:grpSpMkLst>
          </pc:grpChg>
          <pc:grpChg chg="add mod ord">
            <ac:chgData name="Cristian Marcelo Olivares Araya" userId="1d1b6056-80c2-43f8-a487-1679e92d181e" providerId="ADAL" clId="{3D581D96-0840-4B2B-BD4D-EF6BA0CE68FA}" dt="2022-08-24T14:16:33.806" v="238" actId="171"/>
            <ac:grpSpMkLst>
              <pc:docMk/>
              <pc:sldMasterMk cId="3299921331" sldId="2147483648"/>
              <pc:sldLayoutMk cId="2888495637" sldId="2147483664"/>
              <ac:grpSpMk id="18" creationId="{2ACB24AE-F929-EFB9-03AC-7CABFD78F832}"/>
            </ac:grpSpMkLst>
          </pc:grpChg>
          <pc:grpChg chg="mod">
            <ac:chgData name="Cristian Marcelo Olivares Araya" userId="1d1b6056-80c2-43f8-a487-1679e92d181e" providerId="ADAL" clId="{3D581D96-0840-4B2B-BD4D-EF6BA0CE68FA}" dt="2022-08-24T14:16:26.577" v="237"/>
            <ac:grpSpMkLst>
              <pc:docMk/>
              <pc:sldMasterMk cId="3299921331" sldId="2147483648"/>
              <pc:sldLayoutMk cId="2888495637" sldId="2147483664"/>
              <ac:grpSpMk id="19" creationId="{049D9C96-10D3-798D-2056-05AF7D46B810}"/>
            </ac:grpSpMkLst>
          </pc:grpChg>
          <pc:picChg chg="add mod">
            <ac:chgData name="Cristian Marcelo Olivares Araya" userId="1d1b6056-80c2-43f8-a487-1679e92d181e" providerId="ADAL" clId="{3D581D96-0840-4B2B-BD4D-EF6BA0CE68FA}" dt="2022-08-24T13:56:23.467" v="169" actId="18131"/>
            <ac:picMkLst>
              <pc:docMk/>
              <pc:sldMasterMk cId="3299921331" sldId="2147483648"/>
              <pc:sldLayoutMk cId="2888495637" sldId="2147483664"/>
              <ac:picMk id="3" creationId="{5BBB5D03-4C12-C98F-AC53-6763E53CF308}"/>
            </ac:picMkLst>
          </pc:picChg>
          <pc:picChg chg="del">
            <ac:chgData name="Cristian Marcelo Olivares Araya" userId="1d1b6056-80c2-43f8-a487-1679e92d181e" providerId="ADAL" clId="{3D581D96-0840-4B2B-BD4D-EF6BA0CE68FA}" dt="2022-08-24T13:55:54.199" v="165" actId="478"/>
            <ac:picMkLst>
              <pc:docMk/>
              <pc:sldMasterMk cId="3299921331" sldId="2147483648"/>
              <pc:sldLayoutMk cId="2888495637" sldId="2147483664"/>
              <ac:picMk id="4098" creationId="{00000000-0000-0000-0000-000000000000}"/>
            </ac:picMkLst>
          </pc:picChg>
          <pc:cxnChg chg="mod">
            <ac:chgData name="Cristian Marcelo Olivares Araya" userId="1d1b6056-80c2-43f8-a487-1679e92d181e" providerId="ADAL" clId="{3D581D96-0840-4B2B-BD4D-EF6BA0CE68FA}" dt="2022-08-24T13:55:59.144" v="167" actId="1076"/>
            <ac:cxnSpMkLst>
              <pc:docMk/>
              <pc:sldMasterMk cId="3299921331" sldId="2147483648"/>
              <pc:sldLayoutMk cId="2888495637" sldId="2147483664"/>
              <ac:cxnSpMk id="15" creationId="{46C4B27C-8A30-B6C9-FFAF-8A2FE1FB7FDC}"/>
            </ac:cxnSpMkLst>
          </pc:cxnChg>
          <pc:cxnChg chg="mod">
            <ac:chgData name="Cristian Marcelo Olivares Araya" userId="1d1b6056-80c2-43f8-a487-1679e92d181e" providerId="ADAL" clId="{3D581D96-0840-4B2B-BD4D-EF6BA0CE68FA}" dt="2022-08-24T13:55:59.144" v="167" actId="1076"/>
            <ac:cxnSpMkLst>
              <pc:docMk/>
              <pc:sldMasterMk cId="3299921331" sldId="2147483648"/>
              <pc:sldLayoutMk cId="2888495637" sldId="2147483664"/>
              <ac:cxnSpMk id="16" creationId="{5144A322-F9B2-9427-276D-5E8C3F640E98}"/>
            </ac:cxnSpMkLst>
          </pc:cxnChg>
        </pc:sldLayoutChg>
        <pc:sldLayoutChg chg="addSp delSp modSp mod">
          <pc:chgData name="Cristian Marcelo Olivares Araya" userId="1d1b6056-80c2-43f8-a487-1679e92d181e" providerId="ADAL" clId="{3D581D96-0840-4B2B-BD4D-EF6BA0CE68FA}" dt="2022-08-24T14:16:46.502" v="241"/>
          <pc:sldLayoutMkLst>
            <pc:docMk/>
            <pc:sldMasterMk cId="3299921331" sldId="2147483648"/>
            <pc:sldLayoutMk cId="1299925015" sldId="2147483665"/>
          </pc:sldLayoutMkLst>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5" creationId="{2CFC9DFF-34C5-B4D5-6644-8267B43C8210}"/>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7" creationId="{AD2C1F5D-3526-92B4-1B64-5268BEAE8191}"/>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9" creationId="{5D196947-44C1-B32F-226E-2FA93BB48540}"/>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11" creationId="{72E88044-1556-6EDB-7488-FD0CE430A900}"/>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12" creationId="{1E800F22-7149-6583-682F-5C944FF50DAA}"/>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13" creationId="{7143885F-FCC7-9DE9-26DE-D9E49CACA93D}"/>
            </ac:spMkLst>
          </pc:spChg>
          <pc:spChg chg="mod">
            <ac:chgData name="Cristian Marcelo Olivares Araya" userId="1d1b6056-80c2-43f8-a487-1679e92d181e" providerId="ADAL" clId="{3D581D96-0840-4B2B-BD4D-EF6BA0CE68FA}" dt="2022-08-24T13:56:51.039" v="171"/>
            <ac:spMkLst>
              <pc:docMk/>
              <pc:sldMasterMk cId="3299921331" sldId="2147483648"/>
              <pc:sldLayoutMk cId="1299925015" sldId="2147483665"/>
              <ac:spMk id="14" creationId="{20114486-02B7-6D45-E713-4C6FD329DA74}"/>
            </ac:spMkLst>
          </pc:spChg>
          <pc:spChg chg="add del mod">
            <ac:chgData name="Cristian Marcelo Olivares Araya" userId="1d1b6056-80c2-43f8-a487-1679e92d181e" providerId="ADAL" clId="{3D581D96-0840-4B2B-BD4D-EF6BA0CE68FA}" dt="2022-08-24T14:16:45.304" v="240" actId="478"/>
            <ac:spMkLst>
              <pc:docMk/>
              <pc:sldMasterMk cId="3299921331" sldId="2147483648"/>
              <pc:sldLayoutMk cId="1299925015" sldId="2147483665"/>
              <ac:spMk id="17" creationId="{439259E2-5964-F329-009B-1E64363173CC}"/>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0" creationId="{576F677B-A330-176E-6EB8-0BB8529FD3EB}"/>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1" creationId="{5A821690-F50B-FF53-C873-8B275D285C5E}"/>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2" creationId="{1E14C238-4CB7-CCB4-E2C0-6730C7951D75}"/>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3" creationId="{324BA18B-985C-7368-E62B-CDACB4425B4B}"/>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4" creationId="{60834790-2268-B55F-66E2-32FC348E042A}"/>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5" creationId="{F5263865-FD9D-66F0-8C57-6134BE4FDB75}"/>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6" creationId="{16536235-662E-907C-6E6C-577D608BFA4C}"/>
            </ac:spMkLst>
          </pc:spChg>
          <pc:spChg chg="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7" creationId="{9D9F7437-CDF7-C5B2-6885-24094464724A}"/>
            </ac:spMkLst>
          </pc:spChg>
          <pc:spChg chg="add mod">
            <ac:chgData name="Cristian Marcelo Olivares Araya" userId="1d1b6056-80c2-43f8-a487-1679e92d181e" providerId="ADAL" clId="{3D581D96-0840-4B2B-BD4D-EF6BA0CE68FA}" dt="2022-08-24T14:16:46.502" v="241"/>
            <ac:spMkLst>
              <pc:docMk/>
              <pc:sldMasterMk cId="3299921331" sldId="2147483648"/>
              <pc:sldLayoutMk cId="1299925015" sldId="2147483665"/>
              <ac:spMk id="28" creationId="{424952B0-5EBE-AA6B-D442-7A5DE358DC59}"/>
            </ac:spMkLst>
          </pc:spChg>
          <pc:grpChg chg="add del mod">
            <ac:chgData name="Cristian Marcelo Olivares Araya" userId="1d1b6056-80c2-43f8-a487-1679e92d181e" providerId="ADAL" clId="{3D581D96-0840-4B2B-BD4D-EF6BA0CE68FA}" dt="2022-08-24T14:16:43.132" v="239" actId="478"/>
            <ac:grpSpMkLst>
              <pc:docMk/>
              <pc:sldMasterMk cId="3299921331" sldId="2147483648"/>
              <pc:sldLayoutMk cId="1299925015" sldId="2147483665"/>
              <ac:grpSpMk id="4" creationId="{8DA86916-28E8-976C-5A41-2B3B1986527B}"/>
            </ac:grpSpMkLst>
          </pc:grpChg>
          <pc:grpChg chg="add mod">
            <ac:chgData name="Cristian Marcelo Olivares Araya" userId="1d1b6056-80c2-43f8-a487-1679e92d181e" providerId="ADAL" clId="{3D581D96-0840-4B2B-BD4D-EF6BA0CE68FA}" dt="2022-08-24T14:16:46.502" v="241"/>
            <ac:grpSpMkLst>
              <pc:docMk/>
              <pc:sldMasterMk cId="3299921331" sldId="2147483648"/>
              <pc:sldLayoutMk cId="1299925015" sldId="2147483665"/>
              <ac:grpSpMk id="18" creationId="{91634433-1BE1-0183-ECF2-A2AD29138F9A}"/>
            </ac:grpSpMkLst>
          </pc:grpChg>
          <pc:grpChg chg="mod">
            <ac:chgData name="Cristian Marcelo Olivares Araya" userId="1d1b6056-80c2-43f8-a487-1679e92d181e" providerId="ADAL" clId="{3D581D96-0840-4B2B-BD4D-EF6BA0CE68FA}" dt="2022-08-24T14:16:46.502" v="241"/>
            <ac:grpSpMkLst>
              <pc:docMk/>
              <pc:sldMasterMk cId="3299921331" sldId="2147483648"/>
              <pc:sldLayoutMk cId="1299925015" sldId="2147483665"/>
              <ac:grpSpMk id="19" creationId="{C2254689-5DDF-2F13-9133-E9109C8DCC2F}"/>
            </ac:grpSpMkLst>
          </pc:grpChg>
          <pc:picChg chg="add mod">
            <ac:chgData name="Cristian Marcelo Olivares Araya" userId="1d1b6056-80c2-43f8-a487-1679e92d181e" providerId="ADAL" clId="{3D581D96-0840-4B2B-BD4D-EF6BA0CE68FA}" dt="2022-08-24T13:57:41.698" v="175" actId="18131"/>
            <ac:picMkLst>
              <pc:docMk/>
              <pc:sldMasterMk cId="3299921331" sldId="2147483648"/>
              <pc:sldLayoutMk cId="1299925015" sldId="2147483665"/>
              <ac:picMk id="3" creationId="{43B965A5-2791-8B60-5A3C-E67A94FA6FE7}"/>
            </ac:picMkLst>
          </pc:picChg>
          <pc:picChg chg="del">
            <ac:chgData name="Cristian Marcelo Olivares Araya" userId="1d1b6056-80c2-43f8-a487-1679e92d181e" providerId="ADAL" clId="{3D581D96-0840-4B2B-BD4D-EF6BA0CE68FA}" dt="2022-08-24T13:56:50.629" v="170" actId="478"/>
            <ac:picMkLst>
              <pc:docMk/>
              <pc:sldMasterMk cId="3299921331" sldId="2147483648"/>
              <pc:sldLayoutMk cId="1299925015" sldId="2147483665"/>
              <ac:picMk id="5122" creationId="{00000000-0000-0000-0000-000000000000}"/>
            </ac:picMkLst>
          </pc:picChg>
          <pc:cxnChg chg="mod">
            <ac:chgData name="Cristian Marcelo Olivares Araya" userId="1d1b6056-80c2-43f8-a487-1679e92d181e" providerId="ADAL" clId="{3D581D96-0840-4B2B-BD4D-EF6BA0CE68FA}" dt="2022-08-24T13:56:51.039" v="171"/>
            <ac:cxnSpMkLst>
              <pc:docMk/>
              <pc:sldMasterMk cId="3299921331" sldId="2147483648"/>
              <pc:sldLayoutMk cId="1299925015" sldId="2147483665"/>
              <ac:cxnSpMk id="15" creationId="{005C25AE-B2E9-CE66-155F-49BD3FFD9C32}"/>
            </ac:cxnSpMkLst>
          </pc:cxnChg>
          <pc:cxnChg chg="mod">
            <ac:chgData name="Cristian Marcelo Olivares Araya" userId="1d1b6056-80c2-43f8-a487-1679e92d181e" providerId="ADAL" clId="{3D581D96-0840-4B2B-BD4D-EF6BA0CE68FA}" dt="2022-08-24T13:56:51.039" v="171"/>
            <ac:cxnSpMkLst>
              <pc:docMk/>
              <pc:sldMasterMk cId="3299921331" sldId="2147483648"/>
              <pc:sldLayoutMk cId="1299925015" sldId="2147483665"/>
              <ac:cxnSpMk id="16" creationId="{050AFD65-D6F5-C52D-0E18-3060194C7559}"/>
            </ac:cxnSpMkLst>
          </pc:cxnChg>
        </pc:sldLayoutChg>
        <pc:sldLayoutChg chg="addSp delSp modSp mod">
          <pc:chgData name="Cristian Marcelo Olivares Araya" userId="1d1b6056-80c2-43f8-a487-1679e92d181e" providerId="ADAL" clId="{3D581D96-0840-4B2B-BD4D-EF6BA0CE68FA}" dt="2022-08-24T14:16:52.220" v="243"/>
          <pc:sldLayoutMkLst>
            <pc:docMk/>
            <pc:sldMasterMk cId="3299921331" sldId="2147483648"/>
            <pc:sldLayoutMk cId="2132148380" sldId="2147483666"/>
          </pc:sldLayoutMkLst>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5" creationId="{8EBC30EE-54EC-30F6-C851-04F5D111C380}"/>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7" creationId="{BC97B3E4-3803-604D-7737-B603023395AC}"/>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9" creationId="{35B90C53-5A44-BC6C-B518-B6320CC35A29}"/>
            </ac:spMkLst>
          </pc:spChg>
          <pc:spChg chg="del">
            <ac:chgData name="Cristian Marcelo Olivares Araya" userId="1d1b6056-80c2-43f8-a487-1679e92d181e" providerId="ADAL" clId="{3D581D96-0840-4B2B-BD4D-EF6BA0CE68FA}" dt="2022-08-24T14:16:51.553" v="242" actId="478"/>
            <ac:spMkLst>
              <pc:docMk/>
              <pc:sldMasterMk cId="3299921331" sldId="2147483648"/>
              <pc:sldLayoutMk cId="2132148380" sldId="2147483666"/>
              <ac:spMk id="10" creationId="{00000000-0000-0000-0000-000000000000}"/>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11" creationId="{7FD670AF-58F2-8F74-06CE-5FC795F25557}"/>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12" creationId="{D4B81C6E-09FB-448B-BCD4-150E36626BB7}"/>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13" creationId="{68D113BA-A835-C52A-C2A1-CC7BCDFD18C5}"/>
            </ac:spMkLst>
          </pc:spChg>
          <pc:spChg chg="mod">
            <ac:chgData name="Cristian Marcelo Olivares Araya" userId="1d1b6056-80c2-43f8-a487-1679e92d181e" providerId="ADAL" clId="{3D581D96-0840-4B2B-BD4D-EF6BA0CE68FA}" dt="2022-08-24T13:57:52.826" v="177"/>
            <ac:spMkLst>
              <pc:docMk/>
              <pc:sldMasterMk cId="3299921331" sldId="2147483648"/>
              <pc:sldLayoutMk cId="2132148380" sldId="2147483666"/>
              <ac:spMk id="14" creationId="{936099F0-835F-AD4D-124B-F06E88E8B0F8}"/>
            </ac:spMkLst>
          </pc:spChg>
          <pc:spChg chg="add del mod">
            <ac:chgData name="Cristian Marcelo Olivares Araya" userId="1d1b6056-80c2-43f8-a487-1679e92d181e" providerId="ADAL" clId="{3D581D96-0840-4B2B-BD4D-EF6BA0CE68FA}" dt="2022-08-24T14:16:51.553" v="242" actId="478"/>
            <ac:spMkLst>
              <pc:docMk/>
              <pc:sldMasterMk cId="3299921331" sldId="2147483648"/>
              <pc:sldLayoutMk cId="2132148380" sldId="2147483666"/>
              <ac:spMk id="17" creationId="{F3BCACB4-D833-9787-E5AC-418C49B8B486}"/>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0" creationId="{26EDDF5C-13EF-F367-F05F-1C5150BD6F5B}"/>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1" creationId="{CC7B53C9-A885-0DF0-2EFF-12C45CBF3AE7}"/>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2" creationId="{6280369B-8721-3A1A-E1B2-4B76732CF0EE}"/>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3" creationId="{F1F828EC-B2EA-A264-E7EC-889562F9757E}"/>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4" creationId="{1780BE48-342E-C3E1-52E8-34941935ABE1}"/>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5" creationId="{A2D68615-56E0-0039-D4D6-0578A6D18570}"/>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6" creationId="{FF1FA7A1-B28E-0C32-CCE2-CF3F6E314343}"/>
            </ac:spMkLst>
          </pc:spChg>
          <pc:spChg chg="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7" creationId="{CA504571-D580-10BB-CF03-1F24AE22B6FB}"/>
            </ac:spMkLst>
          </pc:spChg>
          <pc:spChg chg="add mod">
            <ac:chgData name="Cristian Marcelo Olivares Araya" userId="1d1b6056-80c2-43f8-a487-1679e92d181e" providerId="ADAL" clId="{3D581D96-0840-4B2B-BD4D-EF6BA0CE68FA}" dt="2022-08-24T14:16:52.220" v="243"/>
            <ac:spMkLst>
              <pc:docMk/>
              <pc:sldMasterMk cId="3299921331" sldId="2147483648"/>
              <pc:sldLayoutMk cId="2132148380" sldId="2147483666"/>
              <ac:spMk id="28" creationId="{692EED56-B7D9-331F-F773-D8009587C619}"/>
            </ac:spMkLst>
          </pc:spChg>
          <pc:grpChg chg="add del mod">
            <ac:chgData name="Cristian Marcelo Olivares Araya" userId="1d1b6056-80c2-43f8-a487-1679e92d181e" providerId="ADAL" clId="{3D581D96-0840-4B2B-BD4D-EF6BA0CE68FA}" dt="2022-08-24T14:16:51.553" v="242" actId="478"/>
            <ac:grpSpMkLst>
              <pc:docMk/>
              <pc:sldMasterMk cId="3299921331" sldId="2147483648"/>
              <pc:sldLayoutMk cId="2132148380" sldId="2147483666"/>
              <ac:grpSpMk id="4" creationId="{74BFE9C9-CD08-1CA8-E51C-F92BDE3A4541}"/>
            </ac:grpSpMkLst>
          </pc:grpChg>
          <pc:grpChg chg="add mod">
            <ac:chgData name="Cristian Marcelo Olivares Araya" userId="1d1b6056-80c2-43f8-a487-1679e92d181e" providerId="ADAL" clId="{3D581D96-0840-4B2B-BD4D-EF6BA0CE68FA}" dt="2022-08-24T14:16:52.220" v="243"/>
            <ac:grpSpMkLst>
              <pc:docMk/>
              <pc:sldMasterMk cId="3299921331" sldId="2147483648"/>
              <pc:sldLayoutMk cId="2132148380" sldId="2147483666"/>
              <ac:grpSpMk id="18" creationId="{EF06AFE3-1C5F-DF98-71AC-90D6DE38D58A}"/>
            </ac:grpSpMkLst>
          </pc:grpChg>
          <pc:grpChg chg="mod">
            <ac:chgData name="Cristian Marcelo Olivares Araya" userId="1d1b6056-80c2-43f8-a487-1679e92d181e" providerId="ADAL" clId="{3D581D96-0840-4B2B-BD4D-EF6BA0CE68FA}" dt="2022-08-24T14:16:52.220" v="243"/>
            <ac:grpSpMkLst>
              <pc:docMk/>
              <pc:sldMasterMk cId="3299921331" sldId="2147483648"/>
              <pc:sldLayoutMk cId="2132148380" sldId="2147483666"/>
              <ac:grpSpMk id="19" creationId="{D1460B1F-06BB-0976-55DD-857EE46AA707}"/>
            </ac:grpSpMkLst>
          </pc:grpChg>
          <pc:picChg chg="add mod">
            <ac:chgData name="Cristian Marcelo Olivares Araya" userId="1d1b6056-80c2-43f8-a487-1679e92d181e" providerId="ADAL" clId="{3D581D96-0840-4B2B-BD4D-EF6BA0CE68FA}" dt="2022-08-24T13:58:41.469" v="183" actId="18131"/>
            <ac:picMkLst>
              <pc:docMk/>
              <pc:sldMasterMk cId="3299921331" sldId="2147483648"/>
              <pc:sldLayoutMk cId="2132148380" sldId="2147483666"/>
              <ac:picMk id="3" creationId="{423958D0-4E10-17BF-99F5-72011BB5B610}"/>
            </ac:picMkLst>
          </pc:picChg>
          <pc:picChg chg="del">
            <ac:chgData name="Cristian Marcelo Olivares Araya" userId="1d1b6056-80c2-43f8-a487-1679e92d181e" providerId="ADAL" clId="{3D581D96-0840-4B2B-BD4D-EF6BA0CE68FA}" dt="2022-08-24T13:57:51.916" v="176" actId="478"/>
            <ac:picMkLst>
              <pc:docMk/>
              <pc:sldMasterMk cId="3299921331" sldId="2147483648"/>
              <pc:sldLayoutMk cId="2132148380" sldId="2147483666"/>
              <ac:picMk id="6146" creationId="{00000000-0000-0000-0000-000000000000}"/>
            </ac:picMkLst>
          </pc:picChg>
          <pc:cxnChg chg="mod">
            <ac:chgData name="Cristian Marcelo Olivares Araya" userId="1d1b6056-80c2-43f8-a487-1679e92d181e" providerId="ADAL" clId="{3D581D96-0840-4B2B-BD4D-EF6BA0CE68FA}" dt="2022-08-24T13:57:52.826" v="177"/>
            <ac:cxnSpMkLst>
              <pc:docMk/>
              <pc:sldMasterMk cId="3299921331" sldId="2147483648"/>
              <pc:sldLayoutMk cId="2132148380" sldId="2147483666"/>
              <ac:cxnSpMk id="15" creationId="{A657256B-1D4F-835C-54D0-1BF57B8FF7A5}"/>
            </ac:cxnSpMkLst>
          </pc:cxnChg>
          <pc:cxnChg chg="mod">
            <ac:chgData name="Cristian Marcelo Olivares Araya" userId="1d1b6056-80c2-43f8-a487-1679e92d181e" providerId="ADAL" clId="{3D581D96-0840-4B2B-BD4D-EF6BA0CE68FA}" dt="2022-08-24T13:57:52.826" v="177"/>
            <ac:cxnSpMkLst>
              <pc:docMk/>
              <pc:sldMasterMk cId="3299921331" sldId="2147483648"/>
              <pc:sldLayoutMk cId="2132148380" sldId="2147483666"/>
              <ac:cxnSpMk id="16" creationId="{7A9FA715-2224-3697-FA0D-98A076FCC8D2}"/>
            </ac:cxnSpMkLst>
          </pc:cxnChg>
        </pc:sldLayoutChg>
        <pc:sldLayoutChg chg="addSp delSp modSp mod">
          <pc:chgData name="Cristian Marcelo Olivares Araya" userId="1d1b6056-80c2-43f8-a487-1679e92d181e" providerId="ADAL" clId="{3D581D96-0840-4B2B-BD4D-EF6BA0CE68FA}" dt="2022-08-24T14:16:57.364" v="245"/>
          <pc:sldLayoutMkLst>
            <pc:docMk/>
            <pc:sldMasterMk cId="3299921331" sldId="2147483648"/>
            <pc:sldLayoutMk cId="3106928342" sldId="2147483667"/>
          </pc:sldLayoutMkLst>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5" creationId="{13837D74-4B35-6534-498A-B9166F2A1CCA}"/>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7" creationId="{9C7A2452-7465-809A-8FE0-46FB462A4DCA}"/>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9" creationId="{86F23657-6E66-E8D8-11DF-5449BCD3F9D6}"/>
            </ac:spMkLst>
          </pc:spChg>
          <pc:spChg chg="del">
            <ac:chgData name="Cristian Marcelo Olivares Araya" userId="1d1b6056-80c2-43f8-a487-1679e92d181e" providerId="ADAL" clId="{3D581D96-0840-4B2B-BD4D-EF6BA0CE68FA}" dt="2022-08-24T14:16:57.001" v="244" actId="478"/>
            <ac:spMkLst>
              <pc:docMk/>
              <pc:sldMasterMk cId="3299921331" sldId="2147483648"/>
              <pc:sldLayoutMk cId="3106928342" sldId="2147483667"/>
              <ac:spMk id="10" creationId="{00000000-0000-0000-0000-000000000000}"/>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11" creationId="{7458360D-67C5-40DC-D488-1C8A6F55FD44}"/>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12" creationId="{28B68748-1581-DF30-BFF7-E60C8AA91B7E}"/>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13" creationId="{3E0184C1-76F9-46B6-302A-1C9A117B8574}"/>
            </ac:spMkLst>
          </pc:spChg>
          <pc:spChg chg="mod">
            <ac:chgData name="Cristian Marcelo Olivares Araya" userId="1d1b6056-80c2-43f8-a487-1679e92d181e" providerId="ADAL" clId="{3D581D96-0840-4B2B-BD4D-EF6BA0CE68FA}" dt="2022-08-24T13:58:51.616" v="185"/>
            <ac:spMkLst>
              <pc:docMk/>
              <pc:sldMasterMk cId="3299921331" sldId="2147483648"/>
              <pc:sldLayoutMk cId="3106928342" sldId="2147483667"/>
              <ac:spMk id="14" creationId="{CDC93423-F2FC-4396-588C-1BC3C64C3393}"/>
            </ac:spMkLst>
          </pc:spChg>
          <pc:spChg chg="add del mod">
            <ac:chgData name="Cristian Marcelo Olivares Araya" userId="1d1b6056-80c2-43f8-a487-1679e92d181e" providerId="ADAL" clId="{3D581D96-0840-4B2B-BD4D-EF6BA0CE68FA}" dt="2022-08-24T14:16:57.001" v="244" actId="478"/>
            <ac:spMkLst>
              <pc:docMk/>
              <pc:sldMasterMk cId="3299921331" sldId="2147483648"/>
              <pc:sldLayoutMk cId="3106928342" sldId="2147483667"/>
              <ac:spMk id="17" creationId="{96C3370B-499A-7E56-214D-DBD19D274190}"/>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0" creationId="{37B33538-D0DB-6702-171F-9E7261F40B7F}"/>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1" creationId="{63C8D577-BECC-8AEF-12FB-6C01DE01D695}"/>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2" creationId="{1D248218-DE9B-1C55-498E-90B4B62B8F96}"/>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3" creationId="{E2D7C00E-C0F3-F553-0F2E-484534AF1D62}"/>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4" creationId="{BB09FE95-C85F-6844-FB3C-70A764898C0B}"/>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5" creationId="{BF709BEB-AD9A-6669-07DB-1DB208926DF7}"/>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6" creationId="{98C3008E-EEEE-59BC-577B-D51E5C66A0CC}"/>
            </ac:spMkLst>
          </pc:spChg>
          <pc:spChg chg="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7" creationId="{A6978FB0-B7BA-CD59-95CA-C68AA1EC3656}"/>
            </ac:spMkLst>
          </pc:spChg>
          <pc:spChg chg="add mod">
            <ac:chgData name="Cristian Marcelo Olivares Araya" userId="1d1b6056-80c2-43f8-a487-1679e92d181e" providerId="ADAL" clId="{3D581D96-0840-4B2B-BD4D-EF6BA0CE68FA}" dt="2022-08-24T14:16:57.364" v="245"/>
            <ac:spMkLst>
              <pc:docMk/>
              <pc:sldMasterMk cId="3299921331" sldId="2147483648"/>
              <pc:sldLayoutMk cId="3106928342" sldId="2147483667"/>
              <ac:spMk id="28" creationId="{73988401-3FF2-5ADE-3CAB-94F3B3808651}"/>
            </ac:spMkLst>
          </pc:spChg>
          <pc:grpChg chg="add del mod">
            <ac:chgData name="Cristian Marcelo Olivares Araya" userId="1d1b6056-80c2-43f8-a487-1679e92d181e" providerId="ADAL" clId="{3D581D96-0840-4B2B-BD4D-EF6BA0CE68FA}" dt="2022-08-24T14:16:57.001" v="244" actId="478"/>
            <ac:grpSpMkLst>
              <pc:docMk/>
              <pc:sldMasterMk cId="3299921331" sldId="2147483648"/>
              <pc:sldLayoutMk cId="3106928342" sldId="2147483667"/>
              <ac:grpSpMk id="4" creationId="{D7E445BF-8795-8482-265F-2903D063F6F2}"/>
            </ac:grpSpMkLst>
          </pc:grpChg>
          <pc:grpChg chg="add mod">
            <ac:chgData name="Cristian Marcelo Olivares Araya" userId="1d1b6056-80c2-43f8-a487-1679e92d181e" providerId="ADAL" clId="{3D581D96-0840-4B2B-BD4D-EF6BA0CE68FA}" dt="2022-08-24T14:16:57.364" v="245"/>
            <ac:grpSpMkLst>
              <pc:docMk/>
              <pc:sldMasterMk cId="3299921331" sldId="2147483648"/>
              <pc:sldLayoutMk cId="3106928342" sldId="2147483667"/>
              <ac:grpSpMk id="18" creationId="{95567FF8-A8BA-7559-EE5C-60182EEB4082}"/>
            </ac:grpSpMkLst>
          </pc:grpChg>
          <pc:grpChg chg="mod">
            <ac:chgData name="Cristian Marcelo Olivares Araya" userId="1d1b6056-80c2-43f8-a487-1679e92d181e" providerId="ADAL" clId="{3D581D96-0840-4B2B-BD4D-EF6BA0CE68FA}" dt="2022-08-24T14:16:57.364" v="245"/>
            <ac:grpSpMkLst>
              <pc:docMk/>
              <pc:sldMasterMk cId="3299921331" sldId="2147483648"/>
              <pc:sldLayoutMk cId="3106928342" sldId="2147483667"/>
              <ac:grpSpMk id="19" creationId="{85947B35-51EA-FB9F-65EE-D105042978B9}"/>
            </ac:grpSpMkLst>
          </pc:grpChg>
          <pc:picChg chg="add mod">
            <ac:chgData name="Cristian Marcelo Olivares Araya" userId="1d1b6056-80c2-43f8-a487-1679e92d181e" providerId="ADAL" clId="{3D581D96-0840-4B2B-BD4D-EF6BA0CE68FA}" dt="2022-08-24T14:07:45.896" v="188" actId="196"/>
            <ac:picMkLst>
              <pc:docMk/>
              <pc:sldMasterMk cId="3299921331" sldId="2147483648"/>
              <pc:sldLayoutMk cId="3106928342" sldId="2147483667"/>
              <ac:picMk id="3" creationId="{2E46F550-ACB2-2128-A2CD-E84BF5FE1C70}"/>
            </ac:picMkLst>
          </pc:picChg>
          <pc:picChg chg="del">
            <ac:chgData name="Cristian Marcelo Olivares Araya" userId="1d1b6056-80c2-43f8-a487-1679e92d181e" providerId="ADAL" clId="{3D581D96-0840-4B2B-BD4D-EF6BA0CE68FA}" dt="2022-08-24T13:58:50.655" v="184" actId="478"/>
            <ac:picMkLst>
              <pc:docMk/>
              <pc:sldMasterMk cId="3299921331" sldId="2147483648"/>
              <pc:sldLayoutMk cId="3106928342" sldId="2147483667"/>
              <ac:picMk id="7170" creationId="{00000000-0000-0000-0000-000000000000}"/>
            </ac:picMkLst>
          </pc:picChg>
          <pc:cxnChg chg="mod">
            <ac:chgData name="Cristian Marcelo Olivares Araya" userId="1d1b6056-80c2-43f8-a487-1679e92d181e" providerId="ADAL" clId="{3D581D96-0840-4B2B-BD4D-EF6BA0CE68FA}" dt="2022-08-24T13:58:51.616" v="185"/>
            <ac:cxnSpMkLst>
              <pc:docMk/>
              <pc:sldMasterMk cId="3299921331" sldId="2147483648"/>
              <pc:sldLayoutMk cId="3106928342" sldId="2147483667"/>
              <ac:cxnSpMk id="15" creationId="{B66D40A7-7A07-0631-9EA5-79D655F20ADB}"/>
            </ac:cxnSpMkLst>
          </pc:cxnChg>
          <pc:cxnChg chg="mod">
            <ac:chgData name="Cristian Marcelo Olivares Araya" userId="1d1b6056-80c2-43f8-a487-1679e92d181e" providerId="ADAL" clId="{3D581D96-0840-4B2B-BD4D-EF6BA0CE68FA}" dt="2022-08-24T13:58:51.616" v="185"/>
            <ac:cxnSpMkLst>
              <pc:docMk/>
              <pc:sldMasterMk cId="3299921331" sldId="2147483648"/>
              <pc:sldLayoutMk cId="3106928342" sldId="2147483667"/>
              <ac:cxnSpMk id="16" creationId="{74A7CC35-A06F-575A-83A1-94246170AB8D}"/>
            </ac:cxnSpMkLst>
          </pc:cxnChg>
        </pc:sldLayoutChg>
        <pc:sldLayoutChg chg="addSp delSp modSp mod">
          <pc:chgData name="Cristian Marcelo Olivares Araya" userId="1d1b6056-80c2-43f8-a487-1679e92d181e" providerId="ADAL" clId="{3D581D96-0840-4B2B-BD4D-EF6BA0CE68FA}" dt="2022-08-24T14:17:02.114" v="247"/>
          <pc:sldLayoutMkLst>
            <pc:docMk/>
            <pc:sldMasterMk cId="3299921331" sldId="2147483648"/>
            <pc:sldLayoutMk cId="2809488866" sldId="2147483668"/>
          </pc:sldLayoutMkLst>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9" creationId="{DC6710E4-EDF5-2046-3FA9-F4221B85C04B}"/>
            </ac:spMkLst>
          </pc:spChg>
          <pc:spChg chg="del">
            <ac:chgData name="Cristian Marcelo Olivares Araya" userId="1d1b6056-80c2-43f8-a487-1679e92d181e" providerId="ADAL" clId="{3D581D96-0840-4B2B-BD4D-EF6BA0CE68FA}" dt="2022-08-24T14:17:01.753" v="246" actId="478"/>
            <ac:spMkLst>
              <pc:docMk/>
              <pc:sldMasterMk cId="3299921331" sldId="2147483648"/>
              <pc:sldLayoutMk cId="2809488866" sldId="2147483668"/>
              <ac:spMk id="10" creationId="{00000000-0000-0000-0000-000000000000}"/>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1" creationId="{C232158F-C0D7-91CA-93CC-B9445CFFE4D5}"/>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2" creationId="{F4F872B1-E818-B4F7-0EBD-DADE05041D3A}"/>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3" creationId="{6625B9C9-8CD3-AFF3-53BD-69501E4F4EAD}"/>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4" creationId="{890F3619-69C3-53A6-3CF1-50A880E565AC}"/>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5" creationId="{999932DE-D054-416F-D623-6E484E5CCC97}"/>
            </ac:spMkLst>
          </pc:spChg>
          <pc:spChg chg="mod">
            <ac:chgData name="Cristian Marcelo Olivares Araya" userId="1d1b6056-80c2-43f8-a487-1679e92d181e" providerId="ADAL" clId="{3D581D96-0840-4B2B-BD4D-EF6BA0CE68FA}" dt="2022-08-24T14:08:09.611" v="192"/>
            <ac:spMkLst>
              <pc:docMk/>
              <pc:sldMasterMk cId="3299921331" sldId="2147483648"/>
              <pc:sldLayoutMk cId="2809488866" sldId="2147483668"/>
              <ac:spMk id="16" creationId="{FAFE27B0-4DFB-18FC-9F3F-0781FA00FDC1}"/>
            </ac:spMkLst>
          </pc:spChg>
          <pc:spChg chg="add del mod">
            <ac:chgData name="Cristian Marcelo Olivares Araya" userId="1d1b6056-80c2-43f8-a487-1679e92d181e" providerId="ADAL" clId="{3D581D96-0840-4B2B-BD4D-EF6BA0CE68FA}" dt="2022-08-24T14:17:01.753" v="246" actId="478"/>
            <ac:spMkLst>
              <pc:docMk/>
              <pc:sldMasterMk cId="3299921331" sldId="2147483648"/>
              <pc:sldLayoutMk cId="2809488866" sldId="2147483668"/>
              <ac:spMk id="19" creationId="{6BBD3287-A3B9-DDFF-B074-90697CB7D6BD}"/>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2" creationId="{B70FF65E-9D7A-7161-A332-9CFC5E232030}"/>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3" creationId="{FC0F2393-F2E8-F9AC-6985-1C1DA06B4968}"/>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4" creationId="{9E22AE38-CD5C-AACE-1C6F-9A109C4A374B}"/>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5" creationId="{8CD1A24A-4AD5-A4BE-43AA-64DFAA3DE5C7}"/>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6" creationId="{82B9E621-07A0-0B98-748F-C143015859F1}"/>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7" creationId="{C47914ED-E664-6064-6AB9-7F8F65E4CF31}"/>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8" creationId="{45ECA11C-2BFE-CBCD-3B0D-BC4D3FB12CF7}"/>
            </ac:spMkLst>
          </pc:spChg>
          <pc:spChg chg="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29" creationId="{DEA6DA4B-7120-3B3B-9895-97069B53B57C}"/>
            </ac:spMkLst>
          </pc:spChg>
          <pc:spChg chg="add mod">
            <ac:chgData name="Cristian Marcelo Olivares Araya" userId="1d1b6056-80c2-43f8-a487-1679e92d181e" providerId="ADAL" clId="{3D581D96-0840-4B2B-BD4D-EF6BA0CE68FA}" dt="2022-08-24T14:17:02.114" v="247"/>
            <ac:spMkLst>
              <pc:docMk/>
              <pc:sldMasterMk cId="3299921331" sldId="2147483648"/>
              <pc:sldLayoutMk cId="2809488866" sldId="2147483668"/>
              <ac:spMk id="30" creationId="{0A0B63FD-5777-F1A3-C278-9B9556D071EC}"/>
            </ac:spMkLst>
          </pc:spChg>
          <pc:grpChg chg="add del mod">
            <ac:chgData name="Cristian Marcelo Olivares Araya" userId="1d1b6056-80c2-43f8-a487-1679e92d181e" providerId="ADAL" clId="{3D581D96-0840-4B2B-BD4D-EF6BA0CE68FA}" dt="2022-08-24T14:17:01.753" v="246" actId="478"/>
            <ac:grpSpMkLst>
              <pc:docMk/>
              <pc:sldMasterMk cId="3299921331" sldId="2147483648"/>
              <pc:sldLayoutMk cId="2809488866" sldId="2147483668"/>
              <ac:grpSpMk id="7" creationId="{BFA9F5D0-84C0-BF8C-2117-424B99AD0949}"/>
            </ac:grpSpMkLst>
          </pc:grpChg>
          <pc:grpChg chg="add mod">
            <ac:chgData name="Cristian Marcelo Olivares Araya" userId="1d1b6056-80c2-43f8-a487-1679e92d181e" providerId="ADAL" clId="{3D581D96-0840-4B2B-BD4D-EF6BA0CE68FA}" dt="2022-08-24T14:17:02.114" v="247"/>
            <ac:grpSpMkLst>
              <pc:docMk/>
              <pc:sldMasterMk cId="3299921331" sldId="2147483648"/>
              <pc:sldLayoutMk cId="2809488866" sldId="2147483668"/>
              <ac:grpSpMk id="20" creationId="{D5CB6CD1-4BE2-0D9B-DC38-CA8673F88AB4}"/>
            </ac:grpSpMkLst>
          </pc:grpChg>
          <pc:grpChg chg="mod">
            <ac:chgData name="Cristian Marcelo Olivares Araya" userId="1d1b6056-80c2-43f8-a487-1679e92d181e" providerId="ADAL" clId="{3D581D96-0840-4B2B-BD4D-EF6BA0CE68FA}" dt="2022-08-24T14:17:02.114" v="247"/>
            <ac:grpSpMkLst>
              <pc:docMk/>
              <pc:sldMasterMk cId="3299921331" sldId="2147483648"/>
              <pc:sldLayoutMk cId="2809488866" sldId="2147483668"/>
              <ac:grpSpMk id="21" creationId="{8D2F67A4-7627-E338-490D-EC31B95B1241}"/>
            </ac:grpSpMkLst>
          </pc:grpChg>
          <pc:picChg chg="add del">
            <ac:chgData name="Cristian Marcelo Olivares Araya" userId="1d1b6056-80c2-43f8-a487-1679e92d181e" providerId="ADAL" clId="{3D581D96-0840-4B2B-BD4D-EF6BA0CE68FA}" dt="2022-08-24T14:07:58.226" v="191" actId="478"/>
            <ac:picMkLst>
              <pc:docMk/>
              <pc:sldMasterMk cId="3299921331" sldId="2147483648"/>
              <pc:sldLayoutMk cId="2809488866" sldId="2147483668"/>
              <ac:picMk id="4" creationId="{6E682CC8-DD56-7F44-BED0-0ABD30C2EC4F}"/>
            </ac:picMkLst>
          </pc:picChg>
          <pc:picChg chg="add mod">
            <ac:chgData name="Cristian Marcelo Olivares Araya" userId="1d1b6056-80c2-43f8-a487-1679e92d181e" providerId="ADAL" clId="{3D581D96-0840-4B2B-BD4D-EF6BA0CE68FA}" dt="2022-08-24T14:08:36.708" v="194" actId="18131"/>
            <ac:picMkLst>
              <pc:docMk/>
              <pc:sldMasterMk cId="3299921331" sldId="2147483648"/>
              <pc:sldLayoutMk cId="2809488866" sldId="2147483668"/>
              <ac:picMk id="5" creationId="{C051D7FC-AEDD-A45A-19F6-7B54456C876F}"/>
            </ac:picMkLst>
          </pc:picChg>
          <pc:picChg chg="del">
            <ac:chgData name="Cristian Marcelo Olivares Araya" userId="1d1b6056-80c2-43f8-a487-1679e92d181e" providerId="ADAL" clId="{3D581D96-0840-4B2B-BD4D-EF6BA0CE68FA}" dt="2022-08-24T14:07:55.060" v="189" actId="478"/>
            <ac:picMkLst>
              <pc:docMk/>
              <pc:sldMasterMk cId="3299921331" sldId="2147483648"/>
              <pc:sldLayoutMk cId="2809488866" sldId="2147483668"/>
              <ac:picMk id="8194" creationId="{00000000-0000-0000-0000-000000000000}"/>
            </ac:picMkLst>
          </pc:picChg>
          <pc:cxnChg chg="mod">
            <ac:chgData name="Cristian Marcelo Olivares Araya" userId="1d1b6056-80c2-43f8-a487-1679e92d181e" providerId="ADAL" clId="{3D581D96-0840-4B2B-BD4D-EF6BA0CE68FA}" dt="2022-08-24T14:08:09.611" v="192"/>
            <ac:cxnSpMkLst>
              <pc:docMk/>
              <pc:sldMasterMk cId="3299921331" sldId="2147483648"/>
              <pc:sldLayoutMk cId="2809488866" sldId="2147483668"/>
              <ac:cxnSpMk id="17" creationId="{C0A57E5B-4A6B-6E8D-EC45-624E811F518C}"/>
            </ac:cxnSpMkLst>
          </pc:cxnChg>
          <pc:cxnChg chg="mod">
            <ac:chgData name="Cristian Marcelo Olivares Araya" userId="1d1b6056-80c2-43f8-a487-1679e92d181e" providerId="ADAL" clId="{3D581D96-0840-4B2B-BD4D-EF6BA0CE68FA}" dt="2022-08-24T14:08:09.611" v="192"/>
            <ac:cxnSpMkLst>
              <pc:docMk/>
              <pc:sldMasterMk cId="3299921331" sldId="2147483648"/>
              <pc:sldLayoutMk cId="2809488866" sldId="2147483668"/>
              <ac:cxnSpMk id="18" creationId="{24F78D1E-462D-AF26-4578-75DA68BD2CFC}"/>
            </ac:cxnSpMkLst>
          </pc:cxnChg>
        </pc:sldLayoutChg>
        <pc:sldLayoutChg chg="addSp delSp modSp mod">
          <pc:chgData name="Cristian Marcelo Olivares Araya" userId="1d1b6056-80c2-43f8-a487-1679e92d181e" providerId="ADAL" clId="{3D581D96-0840-4B2B-BD4D-EF6BA0CE68FA}" dt="2022-08-24T14:17:06.147" v="249"/>
          <pc:sldLayoutMkLst>
            <pc:docMk/>
            <pc:sldMasterMk cId="3299921331" sldId="2147483648"/>
            <pc:sldLayoutMk cId="1877765987" sldId="2147483670"/>
          </pc:sldLayoutMkLst>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5" creationId="{8720AAFD-01D4-9AD6-F093-1481A2CEE0F2}"/>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7" creationId="{30FBC3BD-B1C8-4A00-C5E7-0BB664B9E25E}"/>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9" creationId="{DDA638D0-10C3-CE3E-C313-72BAEE12AE2E}"/>
            </ac:spMkLst>
          </pc:spChg>
          <pc:spChg chg="del">
            <ac:chgData name="Cristian Marcelo Olivares Araya" userId="1d1b6056-80c2-43f8-a487-1679e92d181e" providerId="ADAL" clId="{3D581D96-0840-4B2B-BD4D-EF6BA0CE68FA}" dt="2022-08-24T14:17:05.770" v="248" actId="478"/>
            <ac:spMkLst>
              <pc:docMk/>
              <pc:sldMasterMk cId="3299921331" sldId="2147483648"/>
              <pc:sldLayoutMk cId="1877765987" sldId="2147483670"/>
              <ac:spMk id="10" creationId="{00000000-0000-0000-0000-000000000000}"/>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11" creationId="{74FAA691-BE63-4A23-EBE2-0A4FF9D51D84}"/>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12" creationId="{FBD1F59A-BAFA-ED87-39DA-AF18DBA01161}"/>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13" creationId="{AD678BE7-5144-5A41-C10D-18941D967EA8}"/>
            </ac:spMkLst>
          </pc:spChg>
          <pc:spChg chg="mod">
            <ac:chgData name="Cristian Marcelo Olivares Araya" userId="1d1b6056-80c2-43f8-a487-1679e92d181e" providerId="ADAL" clId="{3D581D96-0840-4B2B-BD4D-EF6BA0CE68FA}" dt="2022-08-24T14:08:46.279" v="196"/>
            <ac:spMkLst>
              <pc:docMk/>
              <pc:sldMasterMk cId="3299921331" sldId="2147483648"/>
              <pc:sldLayoutMk cId="1877765987" sldId="2147483670"/>
              <ac:spMk id="14" creationId="{ECFB75BA-9950-BB66-C7F1-C1F0E841958C}"/>
            </ac:spMkLst>
          </pc:spChg>
          <pc:spChg chg="add del mod">
            <ac:chgData name="Cristian Marcelo Olivares Araya" userId="1d1b6056-80c2-43f8-a487-1679e92d181e" providerId="ADAL" clId="{3D581D96-0840-4B2B-BD4D-EF6BA0CE68FA}" dt="2022-08-24T14:17:05.770" v="248" actId="478"/>
            <ac:spMkLst>
              <pc:docMk/>
              <pc:sldMasterMk cId="3299921331" sldId="2147483648"/>
              <pc:sldLayoutMk cId="1877765987" sldId="2147483670"/>
              <ac:spMk id="17" creationId="{339CA10F-E4E3-E125-E028-B7E08BC7B7EA}"/>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0" creationId="{361F9658-4F3C-99F3-7E1E-924160ADEF5C}"/>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1" creationId="{C8B15517-537E-9382-B13B-111E4A62F1E7}"/>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2" creationId="{D10C33CA-9BE8-A749-B777-3BB2FA8A7CE3}"/>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3" creationId="{AA722701-539A-B582-0CAC-B553DF774B3B}"/>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4" creationId="{976C3D20-8381-F246-D817-2741F149D7AB}"/>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5" creationId="{B5CAA8AE-9D45-79CB-7B18-D2995D86610E}"/>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6" creationId="{E8283A95-7EF2-2329-C553-62A8BCFD2B50}"/>
            </ac:spMkLst>
          </pc:spChg>
          <pc:spChg chg="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7" creationId="{F081DB55-F611-E119-74E4-218ACF718C95}"/>
            </ac:spMkLst>
          </pc:spChg>
          <pc:spChg chg="add mod">
            <ac:chgData name="Cristian Marcelo Olivares Araya" userId="1d1b6056-80c2-43f8-a487-1679e92d181e" providerId="ADAL" clId="{3D581D96-0840-4B2B-BD4D-EF6BA0CE68FA}" dt="2022-08-24T14:17:06.147" v="249"/>
            <ac:spMkLst>
              <pc:docMk/>
              <pc:sldMasterMk cId="3299921331" sldId="2147483648"/>
              <pc:sldLayoutMk cId="1877765987" sldId="2147483670"/>
              <ac:spMk id="28" creationId="{7746E45E-ED42-95BB-0182-85B808F0D9C5}"/>
            </ac:spMkLst>
          </pc:spChg>
          <pc:grpChg chg="add del mod">
            <ac:chgData name="Cristian Marcelo Olivares Araya" userId="1d1b6056-80c2-43f8-a487-1679e92d181e" providerId="ADAL" clId="{3D581D96-0840-4B2B-BD4D-EF6BA0CE68FA}" dt="2022-08-24T14:17:05.770" v="248" actId="478"/>
            <ac:grpSpMkLst>
              <pc:docMk/>
              <pc:sldMasterMk cId="3299921331" sldId="2147483648"/>
              <pc:sldLayoutMk cId="1877765987" sldId="2147483670"/>
              <ac:grpSpMk id="4" creationId="{A9E7BDAC-58D2-AFC1-3F06-F5226B1D8FE4}"/>
            </ac:grpSpMkLst>
          </pc:grpChg>
          <pc:grpChg chg="add mod">
            <ac:chgData name="Cristian Marcelo Olivares Araya" userId="1d1b6056-80c2-43f8-a487-1679e92d181e" providerId="ADAL" clId="{3D581D96-0840-4B2B-BD4D-EF6BA0CE68FA}" dt="2022-08-24T14:17:06.147" v="249"/>
            <ac:grpSpMkLst>
              <pc:docMk/>
              <pc:sldMasterMk cId="3299921331" sldId="2147483648"/>
              <pc:sldLayoutMk cId="1877765987" sldId="2147483670"/>
              <ac:grpSpMk id="18" creationId="{0A9A614B-0F29-A439-3000-6D145C2CF22C}"/>
            </ac:grpSpMkLst>
          </pc:grpChg>
          <pc:grpChg chg="mod">
            <ac:chgData name="Cristian Marcelo Olivares Araya" userId="1d1b6056-80c2-43f8-a487-1679e92d181e" providerId="ADAL" clId="{3D581D96-0840-4B2B-BD4D-EF6BA0CE68FA}" dt="2022-08-24T14:17:06.147" v="249"/>
            <ac:grpSpMkLst>
              <pc:docMk/>
              <pc:sldMasterMk cId="3299921331" sldId="2147483648"/>
              <pc:sldLayoutMk cId="1877765987" sldId="2147483670"/>
              <ac:grpSpMk id="19" creationId="{0C20E9E0-E018-8226-22E2-96672C314081}"/>
            </ac:grpSpMkLst>
          </pc:grpChg>
          <pc:picChg chg="add mod">
            <ac:chgData name="Cristian Marcelo Olivares Araya" userId="1d1b6056-80c2-43f8-a487-1679e92d181e" providerId="ADAL" clId="{3D581D96-0840-4B2B-BD4D-EF6BA0CE68FA}" dt="2022-08-24T14:09:18.974" v="198" actId="18131"/>
            <ac:picMkLst>
              <pc:docMk/>
              <pc:sldMasterMk cId="3299921331" sldId="2147483648"/>
              <pc:sldLayoutMk cId="1877765987" sldId="2147483670"/>
              <ac:picMk id="3" creationId="{99E56493-3FA1-B77C-18A3-C78A98138D72}"/>
            </ac:picMkLst>
          </pc:picChg>
          <pc:picChg chg="del">
            <ac:chgData name="Cristian Marcelo Olivares Araya" userId="1d1b6056-80c2-43f8-a487-1679e92d181e" providerId="ADAL" clId="{3D581D96-0840-4B2B-BD4D-EF6BA0CE68FA}" dt="2022-08-24T14:08:44.839" v="195" actId="478"/>
            <ac:picMkLst>
              <pc:docMk/>
              <pc:sldMasterMk cId="3299921331" sldId="2147483648"/>
              <pc:sldLayoutMk cId="1877765987" sldId="2147483670"/>
              <ac:picMk id="9218" creationId="{00000000-0000-0000-0000-000000000000}"/>
            </ac:picMkLst>
          </pc:picChg>
          <pc:cxnChg chg="mod">
            <ac:chgData name="Cristian Marcelo Olivares Araya" userId="1d1b6056-80c2-43f8-a487-1679e92d181e" providerId="ADAL" clId="{3D581D96-0840-4B2B-BD4D-EF6BA0CE68FA}" dt="2022-08-24T14:08:46.279" v="196"/>
            <ac:cxnSpMkLst>
              <pc:docMk/>
              <pc:sldMasterMk cId="3299921331" sldId="2147483648"/>
              <pc:sldLayoutMk cId="1877765987" sldId="2147483670"/>
              <ac:cxnSpMk id="15" creationId="{195C0FCE-368E-6AA3-A1B1-D3078A0048C2}"/>
            </ac:cxnSpMkLst>
          </pc:cxnChg>
          <pc:cxnChg chg="mod">
            <ac:chgData name="Cristian Marcelo Olivares Araya" userId="1d1b6056-80c2-43f8-a487-1679e92d181e" providerId="ADAL" clId="{3D581D96-0840-4B2B-BD4D-EF6BA0CE68FA}" dt="2022-08-24T14:08:46.279" v="196"/>
            <ac:cxnSpMkLst>
              <pc:docMk/>
              <pc:sldMasterMk cId="3299921331" sldId="2147483648"/>
              <pc:sldLayoutMk cId="1877765987" sldId="2147483670"/>
              <ac:cxnSpMk id="16" creationId="{361C7B24-AFF8-0982-4D4B-7CDBB8EB8BD8}"/>
            </ac:cxnSpMkLst>
          </pc:cxnChg>
        </pc:sldLayoutChg>
        <pc:sldLayoutChg chg="addSp delSp modSp mod">
          <pc:chgData name="Cristian Marcelo Olivares Araya" userId="1d1b6056-80c2-43f8-a487-1679e92d181e" providerId="ADAL" clId="{3D581D96-0840-4B2B-BD4D-EF6BA0CE68FA}" dt="2022-08-24T14:15:06.398" v="225" actId="1582"/>
          <pc:sldLayoutMkLst>
            <pc:docMk/>
            <pc:sldMasterMk cId="3299921331" sldId="2147483648"/>
            <pc:sldLayoutMk cId="601632696" sldId="2147483671"/>
          </pc:sldLayoutMkLst>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5" creationId="{8697E034-D799-55C5-611C-99680FBDEC5A}"/>
            </ac:spMkLst>
          </pc:spChg>
          <pc:spChg chg="add mod">
            <ac:chgData name="Cristian Marcelo Olivares Araya" userId="1d1b6056-80c2-43f8-a487-1679e92d181e" providerId="ADAL" clId="{3D581D96-0840-4B2B-BD4D-EF6BA0CE68FA}" dt="2022-08-24T13:46:21.249" v="50"/>
            <ac:spMkLst>
              <pc:docMk/>
              <pc:sldMasterMk cId="3299921331" sldId="2147483648"/>
              <pc:sldLayoutMk cId="601632696" sldId="2147483671"/>
              <ac:spMk id="7" creationId="{3FE10464-0F59-8790-DD21-317F7E2584C7}"/>
            </ac:spMkLst>
          </pc:spChg>
          <pc:spChg chg="add mod">
            <ac:chgData name="Cristian Marcelo Olivares Araya" userId="1d1b6056-80c2-43f8-a487-1679e92d181e" providerId="ADAL" clId="{3D581D96-0840-4B2B-BD4D-EF6BA0CE68FA}" dt="2022-08-24T13:46:21.249" v="50"/>
            <ac:spMkLst>
              <pc:docMk/>
              <pc:sldMasterMk cId="3299921331" sldId="2147483648"/>
              <pc:sldLayoutMk cId="601632696" sldId="2147483671"/>
              <ac:spMk id="8" creationId="{A8D305D6-4D59-3A6D-5F09-180A81446F48}"/>
            </ac:spMkLst>
          </pc:spChg>
          <pc:spChg chg="add mod">
            <ac:chgData name="Cristian Marcelo Olivares Araya" userId="1d1b6056-80c2-43f8-a487-1679e92d181e" providerId="ADAL" clId="{3D581D96-0840-4B2B-BD4D-EF6BA0CE68FA}" dt="2022-08-24T13:46:21.249" v="50"/>
            <ac:spMkLst>
              <pc:docMk/>
              <pc:sldMasterMk cId="3299921331" sldId="2147483648"/>
              <pc:sldLayoutMk cId="601632696" sldId="2147483671"/>
              <ac:spMk id="9" creationId="{784FC676-6BC0-F8B5-64F8-794F9E0C95DA}"/>
            </ac:spMkLst>
          </pc:spChg>
          <pc:spChg chg="add mod">
            <ac:chgData name="Cristian Marcelo Olivares Araya" userId="1d1b6056-80c2-43f8-a487-1679e92d181e" providerId="ADAL" clId="{3D581D96-0840-4B2B-BD4D-EF6BA0CE68FA}" dt="2022-08-24T13:46:21.249" v="50"/>
            <ac:spMkLst>
              <pc:docMk/>
              <pc:sldMasterMk cId="3299921331" sldId="2147483648"/>
              <pc:sldLayoutMk cId="601632696" sldId="2147483671"/>
              <ac:spMk id="10" creationId="{9FF48638-141E-E130-8F8F-E848703540DF}"/>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2" creationId="{37852D10-88C2-9A56-7F0F-5053018DA736}"/>
            </ac:spMkLst>
          </pc:spChg>
          <pc:spChg chg="add del mod">
            <ac:chgData name="Cristian Marcelo Olivares Araya" userId="1d1b6056-80c2-43f8-a487-1679e92d181e" providerId="ADAL" clId="{3D581D96-0840-4B2B-BD4D-EF6BA0CE68FA}" dt="2022-08-24T13:48:30.122" v="75"/>
            <ac:spMkLst>
              <pc:docMk/>
              <pc:sldMasterMk cId="3299921331" sldId="2147483648"/>
              <pc:sldLayoutMk cId="601632696" sldId="2147483671"/>
              <ac:spMk id="13" creationId="{E15E950A-7145-DD23-D558-EFC5A3FD66E0}"/>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4" creationId="{20102D28-575F-CDA3-BA50-6B017BF320C8}"/>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5" creationId="{2B6E29E7-C4DE-CD86-C65E-8A6B4CA5945D}"/>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6" creationId="{ADD02571-D46A-A284-AF62-870E648EAEFD}"/>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7" creationId="{7178A23A-7EFD-334B-4A64-9EDE1C030F85}"/>
            </ac:spMkLst>
          </pc:spChg>
          <pc:spChg chg="add del mod">
            <ac:chgData name="Cristian Marcelo Olivares Araya" userId="1d1b6056-80c2-43f8-a487-1679e92d181e" providerId="ADAL" clId="{3D581D96-0840-4B2B-BD4D-EF6BA0CE68FA}" dt="2022-08-24T13:52:59.497" v="142" actId="164"/>
            <ac:spMkLst>
              <pc:docMk/>
              <pc:sldMasterMk cId="3299921331" sldId="2147483648"/>
              <pc:sldLayoutMk cId="601632696" sldId="2147483671"/>
              <ac:spMk id="18" creationId="{115F7DCE-EC17-F1C1-00CD-6302A24E6DE6}"/>
            </ac:spMkLst>
          </pc:spChg>
          <pc:spChg chg="add mod">
            <ac:chgData name="Cristian Marcelo Olivares Araya" userId="1d1b6056-80c2-43f8-a487-1679e92d181e" providerId="ADAL" clId="{3D581D96-0840-4B2B-BD4D-EF6BA0CE68FA}" dt="2022-08-24T14:15:06.398" v="225" actId="1582"/>
            <ac:spMkLst>
              <pc:docMk/>
              <pc:sldMasterMk cId="3299921331" sldId="2147483648"/>
              <pc:sldLayoutMk cId="601632696" sldId="2147483671"/>
              <ac:spMk id="31" creationId="{A6ACED36-7D4F-2A6B-F1C2-74DD85D6A77B}"/>
            </ac:spMkLst>
          </pc:spChg>
          <pc:grpChg chg="add del mod">
            <ac:chgData name="Cristian Marcelo Olivares Araya" userId="1d1b6056-80c2-43f8-a487-1679e92d181e" providerId="ADAL" clId="{3D581D96-0840-4B2B-BD4D-EF6BA0CE68FA}" dt="2022-08-24T14:13:56.151" v="214" actId="478"/>
            <ac:grpSpMkLst>
              <pc:docMk/>
              <pc:sldMasterMk cId="3299921331" sldId="2147483648"/>
              <pc:sldLayoutMk cId="601632696" sldId="2147483671"/>
              <ac:grpSpMk id="30" creationId="{FE63CA8D-634F-185C-9992-E5DF86F418E1}"/>
            </ac:grpSpMkLst>
          </pc:grpChg>
          <pc:picChg chg="add del mod">
            <ac:chgData name="Cristian Marcelo Olivares Araya" userId="1d1b6056-80c2-43f8-a487-1679e92d181e" providerId="ADAL" clId="{3D581D96-0840-4B2B-BD4D-EF6BA0CE68FA}" dt="2022-08-24T13:50:56.599" v="100" actId="478"/>
            <ac:picMkLst>
              <pc:docMk/>
              <pc:sldMasterMk cId="3299921331" sldId="2147483648"/>
              <pc:sldLayoutMk cId="601632696" sldId="2147483671"/>
              <ac:picMk id="11" creationId="{00000000-0000-0000-0000-000000000000}"/>
            </ac:picMkLst>
          </pc:picChg>
          <pc:cxnChg chg="add del mod">
            <ac:chgData name="Cristian Marcelo Olivares Araya" userId="1d1b6056-80c2-43f8-a487-1679e92d181e" providerId="ADAL" clId="{3D581D96-0840-4B2B-BD4D-EF6BA0CE68FA}" dt="2022-08-24T14:13:57.562" v="215" actId="478"/>
            <ac:cxnSpMkLst>
              <pc:docMk/>
              <pc:sldMasterMk cId="3299921331" sldId="2147483648"/>
              <pc:sldLayoutMk cId="601632696" sldId="2147483671"/>
              <ac:cxnSpMk id="20" creationId="{640144DB-AC7D-6498-B457-270A68494B27}"/>
            </ac:cxnSpMkLst>
          </pc:cxnChg>
          <pc:cxnChg chg="add del mod">
            <ac:chgData name="Cristian Marcelo Olivares Araya" userId="1d1b6056-80c2-43f8-a487-1679e92d181e" providerId="ADAL" clId="{3D581D96-0840-4B2B-BD4D-EF6BA0CE68FA}" dt="2022-08-24T14:13:52.402" v="212" actId="478"/>
            <ac:cxnSpMkLst>
              <pc:docMk/>
              <pc:sldMasterMk cId="3299921331" sldId="2147483648"/>
              <pc:sldLayoutMk cId="601632696" sldId="2147483671"/>
              <ac:cxnSpMk id="22" creationId="{F3D5B7FF-6827-0184-A847-CC8F2C523E04}"/>
            </ac:cxnSpMkLst>
          </pc:cxnChg>
        </pc:sldLayoutChg>
        <pc:sldLayoutChg chg="modTransition">
          <pc:chgData name="Cristian Marcelo Olivares Araya" userId="1d1b6056-80c2-43f8-a487-1679e92d181e" providerId="ADAL" clId="{3D581D96-0840-4B2B-BD4D-EF6BA0CE68FA}" dt="2022-08-24T13:42:00.447" v="13"/>
          <pc:sldLayoutMkLst>
            <pc:docMk/>
            <pc:sldMasterMk cId="3299921331" sldId="2147483648"/>
            <pc:sldLayoutMk cId="526308816" sldId="2147483674"/>
          </pc:sldLayoutMkLst>
        </pc:sldLayoutChg>
      </pc:sldMasterChg>
      <pc:sldMasterChg chg="modTransition modSldLayout">
        <pc:chgData name="Cristian Marcelo Olivares Araya" userId="1d1b6056-80c2-43f8-a487-1679e92d181e" providerId="ADAL" clId="{3D581D96-0840-4B2B-BD4D-EF6BA0CE68FA}" dt="2022-08-24T13:45:46.548" v="48"/>
        <pc:sldMasterMkLst>
          <pc:docMk/>
          <pc:sldMasterMk cId="3066970948" sldId="2147483675"/>
        </pc:sldMasterMkLst>
        <pc:sldLayoutChg chg="addSp modTransition">
          <pc:chgData name="Cristian Marcelo Olivares Araya" userId="1d1b6056-80c2-43f8-a487-1679e92d181e" providerId="ADAL" clId="{3D581D96-0840-4B2B-BD4D-EF6BA0CE68FA}" dt="2022-08-24T13:45:46.548" v="48"/>
          <pc:sldLayoutMkLst>
            <pc:docMk/>
            <pc:sldMasterMk cId="3066970948" sldId="2147483675"/>
            <pc:sldLayoutMk cId="3457825543" sldId="2147483677"/>
          </pc:sldLayoutMkLst>
          <pc:picChg chg="add">
            <ac:chgData name="Cristian Marcelo Olivares Araya" userId="1d1b6056-80c2-43f8-a487-1679e92d181e" providerId="ADAL" clId="{3D581D96-0840-4B2B-BD4D-EF6BA0CE68FA}" dt="2022-08-24T13:45:35.830" v="17"/>
            <ac:picMkLst>
              <pc:docMk/>
              <pc:sldMasterMk cId="3066970948" sldId="2147483675"/>
              <pc:sldLayoutMk cId="3457825543" sldId="2147483677"/>
              <ac:picMk id="3" creationId="{99FBF3D3-F535-B742-32FB-518A3D4B0F62}"/>
            </ac:picMkLst>
          </pc:picChg>
        </pc:sldLayoutChg>
        <pc:sldLayoutChg chg="addSp">
          <pc:chgData name="Cristian Marcelo Olivares Araya" userId="1d1b6056-80c2-43f8-a487-1679e92d181e" providerId="ADAL" clId="{3D581D96-0840-4B2B-BD4D-EF6BA0CE68FA}" dt="2022-08-24T13:45:35.830" v="17"/>
          <pc:sldLayoutMkLst>
            <pc:docMk/>
            <pc:sldMasterMk cId="3066970948" sldId="2147483675"/>
            <pc:sldLayoutMk cId="450165347" sldId="2147483696"/>
          </pc:sldLayoutMkLst>
          <pc:picChg chg="add">
            <ac:chgData name="Cristian Marcelo Olivares Araya" userId="1d1b6056-80c2-43f8-a487-1679e92d181e" providerId="ADAL" clId="{3D581D96-0840-4B2B-BD4D-EF6BA0CE68FA}" dt="2022-08-24T13:45:35.830" v="17"/>
            <ac:picMkLst>
              <pc:docMk/>
              <pc:sldMasterMk cId="3066970948" sldId="2147483675"/>
              <pc:sldLayoutMk cId="450165347" sldId="2147483696"/>
              <ac:picMk id="5" creationId="{FAE817BE-C0FE-62EC-7829-561F8629E7C8}"/>
            </ac:picMkLst>
          </pc:picChg>
          <pc:picChg chg="add">
            <ac:chgData name="Cristian Marcelo Olivares Araya" userId="1d1b6056-80c2-43f8-a487-1679e92d181e" providerId="ADAL" clId="{3D581D96-0840-4B2B-BD4D-EF6BA0CE68FA}" dt="2022-08-24T13:45:35.830" v="17"/>
            <ac:picMkLst>
              <pc:docMk/>
              <pc:sldMasterMk cId="3066970948" sldId="2147483675"/>
              <pc:sldLayoutMk cId="450165347" sldId="2147483696"/>
              <ac:picMk id="6" creationId="{2EDA99AA-3B47-F7E9-C8DD-09DBE53C8874}"/>
            </ac:picMkLst>
          </pc:picChg>
        </pc:sldLayoutChg>
      </pc:sldMasterChg>
    </pc:docChg>
  </pc:docChgLst>
  <pc:docChgLst>
    <pc:chgData name="Cristian Marcelo Olivares Araya" userId="1d1b6056-80c2-43f8-a487-1679e92d181e" providerId="ADAL" clId="{5925378C-91D1-424A-ACB3-4103A395C1DF}"/>
    <pc:docChg chg="addSld delSld modSld">
      <pc:chgData name="Cristian Marcelo Olivares Araya" userId="1d1b6056-80c2-43f8-a487-1679e92d181e" providerId="ADAL" clId="{5925378C-91D1-424A-ACB3-4103A395C1DF}" dt="2022-09-08T22:10:21.846" v="2" actId="47"/>
      <pc:docMkLst>
        <pc:docMk/>
      </pc:docMkLst>
      <pc:sldChg chg="del modTransition">
        <pc:chgData name="Cristian Marcelo Olivares Araya" userId="1d1b6056-80c2-43f8-a487-1679e92d181e" providerId="ADAL" clId="{5925378C-91D1-424A-ACB3-4103A395C1DF}" dt="2022-09-08T22:10:21.846" v="2" actId="47"/>
        <pc:sldMkLst>
          <pc:docMk/>
          <pc:sldMk cId="1559651536" sldId="273"/>
        </pc:sldMkLst>
      </pc:sldChg>
      <pc:sldChg chg="modTransition">
        <pc:chgData name="Cristian Marcelo Olivares Araya" userId="1d1b6056-80c2-43f8-a487-1679e92d181e" providerId="ADAL" clId="{5925378C-91D1-424A-ACB3-4103A395C1DF}" dt="2022-09-07T15:17:18.304" v="0"/>
        <pc:sldMkLst>
          <pc:docMk/>
          <pc:sldMk cId="2106840347" sldId="344"/>
        </pc:sldMkLst>
      </pc:sldChg>
      <pc:sldChg chg="modTransition">
        <pc:chgData name="Cristian Marcelo Olivares Araya" userId="1d1b6056-80c2-43f8-a487-1679e92d181e" providerId="ADAL" clId="{5925378C-91D1-424A-ACB3-4103A395C1DF}" dt="2022-09-07T15:17:18.304" v="0"/>
        <pc:sldMkLst>
          <pc:docMk/>
          <pc:sldMk cId="1359721141" sldId="345"/>
        </pc:sldMkLst>
      </pc:sldChg>
      <pc:sldChg chg="modTransition">
        <pc:chgData name="Cristian Marcelo Olivares Araya" userId="1d1b6056-80c2-43f8-a487-1679e92d181e" providerId="ADAL" clId="{5925378C-91D1-424A-ACB3-4103A395C1DF}" dt="2022-09-07T15:17:18.304" v="0"/>
        <pc:sldMkLst>
          <pc:docMk/>
          <pc:sldMk cId="888148084" sldId="402"/>
        </pc:sldMkLst>
      </pc:sldChg>
      <pc:sldChg chg="modTransition">
        <pc:chgData name="Cristian Marcelo Olivares Araya" userId="1d1b6056-80c2-43f8-a487-1679e92d181e" providerId="ADAL" clId="{5925378C-91D1-424A-ACB3-4103A395C1DF}" dt="2022-09-07T15:17:18.304" v="0"/>
        <pc:sldMkLst>
          <pc:docMk/>
          <pc:sldMk cId="1761671635" sldId="403"/>
        </pc:sldMkLst>
      </pc:sldChg>
      <pc:sldChg chg="modTransition">
        <pc:chgData name="Cristian Marcelo Olivares Araya" userId="1d1b6056-80c2-43f8-a487-1679e92d181e" providerId="ADAL" clId="{5925378C-91D1-424A-ACB3-4103A395C1DF}" dt="2022-09-07T15:17:18.304" v="0"/>
        <pc:sldMkLst>
          <pc:docMk/>
          <pc:sldMk cId="4057073761" sldId="405"/>
        </pc:sldMkLst>
      </pc:sldChg>
      <pc:sldChg chg="modTransition">
        <pc:chgData name="Cristian Marcelo Olivares Araya" userId="1d1b6056-80c2-43f8-a487-1679e92d181e" providerId="ADAL" clId="{5925378C-91D1-424A-ACB3-4103A395C1DF}" dt="2022-09-07T15:17:18.304" v="0"/>
        <pc:sldMkLst>
          <pc:docMk/>
          <pc:sldMk cId="106030944" sldId="406"/>
        </pc:sldMkLst>
      </pc:sldChg>
      <pc:sldChg chg="modTransition">
        <pc:chgData name="Cristian Marcelo Olivares Araya" userId="1d1b6056-80c2-43f8-a487-1679e92d181e" providerId="ADAL" clId="{5925378C-91D1-424A-ACB3-4103A395C1DF}" dt="2022-09-07T15:17:18.304" v="0"/>
        <pc:sldMkLst>
          <pc:docMk/>
          <pc:sldMk cId="1513218662" sldId="407"/>
        </pc:sldMkLst>
      </pc:sldChg>
      <pc:sldChg chg="modTransition">
        <pc:chgData name="Cristian Marcelo Olivares Araya" userId="1d1b6056-80c2-43f8-a487-1679e92d181e" providerId="ADAL" clId="{5925378C-91D1-424A-ACB3-4103A395C1DF}" dt="2022-09-07T15:17:18.304" v="0"/>
        <pc:sldMkLst>
          <pc:docMk/>
          <pc:sldMk cId="3462226124" sldId="408"/>
        </pc:sldMkLst>
      </pc:sldChg>
      <pc:sldChg chg="modTransition">
        <pc:chgData name="Cristian Marcelo Olivares Araya" userId="1d1b6056-80c2-43f8-a487-1679e92d181e" providerId="ADAL" clId="{5925378C-91D1-424A-ACB3-4103A395C1DF}" dt="2022-09-07T15:17:18.304" v="0"/>
        <pc:sldMkLst>
          <pc:docMk/>
          <pc:sldMk cId="4277867602" sldId="409"/>
        </pc:sldMkLst>
      </pc:sldChg>
      <pc:sldChg chg="modTransition">
        <pc:chgData name="Cristian Marcelo Olivares Araya" userId="1d1b6056-80c2-43f8-a487-1679e92d181e" providerId="ADAL" clId="{5925378C-91D1-424A-ACB3-4103A395C1DF}" dt="2022-09-07T15:17:18.304" v="0"/>
        <pc:sldMkLst>
          <pc:docMk/>
          <pc:sldMk cId="2137706642" sldId="416"/>
        </pc:sldMkLst>
      </pc:sldChg>
      <pc:sldChg chg="modTransition">
        <pc:chgData name="Cristian Marcelo Olivares Araya" userId="1d1b6056-80c2-43f8-a487-1679e92d181e" providerId="ADAL" clId="{5925378C-91D1-424A-ACB3-4103A395C1DF}" dt="2022-09-07T15:17:18.304" v="0"/>
        <pc:sldMkLst>
          <pc:docMk/>
          <pc:sldMk cId="2328318739" sldId="418"/>
        </pc:sldMkLst>
      </pc:sldChg>
      <pc:sldChg chg="modTransition">
        <pc:chgData name="Cristian Marcelo Olivares Araya" userId="1d1b6056-80c2-43f8-a487-1679e92d181e" providerId="ADAL" clId="{5925378C-91D1-424A-ACB3-4103A395C1DF}" dt="2022-09-07T15:17:18.304" v="0"/>
        <pc:sldMkLst>
          <pc:docMk/>
          <pc:sldMk cId="3439418385" sldId="419"/>
        </pc:sldMkLst>
      </pc:sldChg>
      <pc:sldChg chg="modTransition">
        <pc:chgData name="Cristian Marcelo Olivares Araya" userId="1d1b6056-80c2-43f8-a487-1679e92d181e" providerId="ADAL" clId="{5925378C-91D1-424A-ACB3-4103A395C1DF}" dt="2022-09-07T15:17:18.304" v="0"/>
        <pc:sldMkLst>
          <pc:docMk/>
          <pc:sldMk cId="1178947213" sldId="420"/>
        </pc:sldMkLst>
      </pc:sldChg>
      <pc:sldChg chg="modTransition">
        <pc:chgData name="Cristian Marcelo Olivares Araya" userId="1d1b6056-80c2-43f8-a487-1679e92d181e" providerId="ADAL" clId="{5925378C-91D1-424A-ACB3-4103A395C1DF}" dt="2022-09-07T15:17:18.304" v="0"/>
        <pc:sldMkLst>
          <pc:docMk/>
          <pc:sldMk cId="19644945" sldId="421"/>
        </pc:sldMkLst>
      </pc:sldChg>
      <pc:sldChg chg="modTransition">
        <pc:chgData name="Cristian Marcelo Olivares Araya" userId="1d1b6056-80c2-43f8-a487-1679e92d181e" providerId="ADAL" clId="{5925378C-91D1-424A-ACB3-4103A395C1DF}" dt="2022-09-07T15:17:18.304" v="0"/>
        <pc:sldMkLst>
          <pc:docMk/>
          <pc:sldMk cId="1828533469" sldId="422"/>
        </pc:sldMkLst>
      </pc:sldChg>
      <pc:sldChg chg="modTransition">
        <pc:chgData name="Cristian Marcelo Olivares Araya" userId="1d1b6056-80c2-43f8-a487-1679e92d181e" providerId="ADAL" clId="{5925378C-91D1-424A-ACB3-4103A395C1DF}" dt="2022-09-07T15:17:18.304" v="0"/>
        <pc:sldMkLst>
          <pc:docMk/>
          <pc:sldMk cId="35538721" sldId="424"/>
        </pc:sldMkLst>
      </pc:sldChg>
      <pc:sldChg chg="modTransition">
        <pc:chgData name="Cristian Marcelo Olivares Araya" userId="1d1b6056-80c2-43f8-a487-1679e92d181e" providerId="ADAL" clId="{5925378C-91D1-424A-ACB3-4103A395C1DF}" dt="2022-09-07T15:17:18.304" v="0"/>
        <pc:sldMkLst>
          <pc:docMk/>
          <pc:sldMk cId="3333304987" sldId="425"/>
        </pc:sldMkLst>
      </pc:sldChg>
      <pc:sldChg chg="modTransition">
        <pc:chgData name="Cristian Marcelo Olivares Araya" userId="1d1b6056-80c2-43f8-a487-1679e92d181e" providerId="ADAL" clId="{5925378C-91D1-424A-ACB3-4103A395C1DF}" dt="2022-09-07T15:17:18.304" v="0"/>
        <pc:sldMkLst>
          <pc:docMk/>
          <pc:sldMk cId="3238774376" sldId="432"/>
        </pc:sldMkLst>
      </pc:sldChg>
      <pc:sldChg chg="modTransition">
        <pc:chgData name="Cristian Marcelo Olivares Araya" userId="1d1b6056-80c2-43f8-a487-1679e92d181e" providerId="ADAL" clId="{5925378C-91D1-424A-ACB3-4103A395C1DF}" dt="2022-09-07T15:17:18.304" v="0"/>
        <pc:sldMkLst>
          <pc:docMk/>
          <pc:sldMk cId="1457074601" sldId="433"/>
        </pc:sldMkLst>
      </pc:sldChg>
      <pc:sldChg chg="modTransition">
        <pc:chgData name="Cristian Marcelo Olivares Araya" userId="1d1b6056-80c2-43f8-a487-1679e92d181e" providerId="ADAL" clId="{5925378C-91D1-424A-ACB3-4103A395C1DF}" dt="2022-09-07T15:17:18.304" v="0"/>
        <pc:sldMkLst>
          <pc:docMk/>
          <pc:sldMk cId="780926515" sldId="437"/>
        </pc:sldMkLst>
      </pc:sldChg>
      <pc:sldChg chg="modTransition">
        <pc:chgData name="Cristian Marcelo Olivares Araya" userId="1d1b6056-80c2-43f8-a487-1679e92d181e" providerId="ADAL" clId="{5925378C-91D1-424A-ACB3-4103A395C1DF}" dt="2022-09-07T15:17:18.304" v="0"/>
        <pc:sldMkLst>
          <pc:docMk/>
          <pc:sldMk cId="3052680806" sldId="438"/>
        </pc:sldMkLst>
      </pc:sldChg>
      <pc:sldChg chg="modTransition">
        <pc:chgData name="Cristian Marcelo Olivares Araya" userId="1d1b6056-80c2-43f8-a487-1679e92d181e" providerId="ADAL" clId="{5925378C-91D1-424A-ACB3-4103A395C1DF}" dt="2022-09-07T15:17:18.304" v="0"/>
        <pc:sldMkLst>
          <pc:docMk/>
          <pc:sldMk cId="379101877" sldId="439"/>
        </pc:sldMkLst>
      </pc:sldChg>
      <pc:sldChg chg="modTransition">
        <pc:chgData name="Cristian Marcelo Olivares Araya" userId="1d1b6056-80c2-43f8-a487-1679e92d181e" providerId="ADAL" clId="{5925378C-91D1-424A-ACB3-4103A395C1DF}" dt="2022-09-07T15:17:18.304" v="0"/>
        <pc:sldMkLst>
          <pc:docMk/>
          <pc:sldMk cId="1506494880" sldId="442"/>
        </pc:sldMkLst>
      </pc:sldChg>
      <pc:sldChg chg="modTransition">
        <pc:chgData name="Cristian Marcelo Olivares Araya" userId="1d1b6056-80c2-43f8-a487-1679e92d181e" providerId="ADAL" clId="{5925378C-91D1-424A-ACB3-4103A395C1DF}" dt="2022-09-07T15:17:18.304" v="0"/>
        <pc:sldMkLst>
          <pc:docMk/>
          <pc:sldMk cId="2476077960" sldId="443"/>
        </pc:sldMkLst>
      </pc:sldChg>
      <pc:sldChg chg="modTransition">
        <pc:chgData name="Cristian Marcelo Olivares Araya" userId="1d1b6056-80c2-43f8-a487-1679e92d181e" providerId="ADAL" clId="{5925378C-91D1-424A-ACB3-4103A395C1DF}" dt="2022-09-07T15:17:18.304" v="0"/>
        <pc:sldMkLst>
          <pc:docMk/>
          <pc:sldMk cId="386812657" sldId="444"/>
        </pc:sldMkLst>
      </pc:sldChg>
      <pc:sldChg chg="modTransition">
        <pc:chgData name="Cristian Marcelo Olivares Araya" userId="1d1b6056-80c2-43f8-a487-1679e92d181e" providerId="ADAL" clId="{5925378C-91D1-424A-ACB3-4103A395C1DF}" dt="2022-09-07T15:17:18.304" v="0"/>
        <pc:sldMkLst>
          <pc:docMk/>
          <pc:sldMk cId="3992460657" sldId="445"/>
        </pc:sldMkLst>
      </pc:sldChg>
      <pc:sldChg chg="modTransition">
        <pc:chgData name="Cristian Marcelo Olivares Araya" userId="1d1b6056-80c2-43f8-a487-1679e92d181e" providerId="ADAL" clId="{5925378C-91D1-424A-ACB3-4103A395C1DF}" dt="2022-09-07T15:17:18.304" v="0"/>
        <pc:sldMkLst>
          <pc:docMk/>
          <pc:sldMk cId="2265717936" sldId="447"/>
        </pc:sldMkLst>
      </pc:sldChg>
      <pc:sldChg chg="modTransition">
        <pc:chgData name="Cristian Marcelo Olivares Araya" userId="1d1b6056-80c2-43f8-a487-1679e92d181e" providerId="ADAL" clId="{5925378C-91D1-424A-ACB3-4103A395C1DF}" dt="2022-09-07T15:17:18.304" v="0"/>
        <pc:sldMkLst>
          <pc:docMk/>
          <pc:sldMk cId="4229982534" sldId="448"/>
        </pc:sldMkLst>
      </pc:sldChg>
      <pc:sldChg chg="modTransition">
        <pc:chgData name="Cristian Marcelo Olivares Araya" userId="1d1b6056-80c2-43f8-a487-1679e92d181e" providerId="ADAL" clId="{5925378C-91D1-424A-ACB3-4103A395C1DF}" dt="2022-09-07T15:17:18.304" v="0"/>
        <pc:sldMkLst>
          <pc:docMk/>
          <pc:sldMk cId="3338626623" sldId="449"/>
        </pc:sldMkLst>
      </pc:sldChg>
      <pc:sldChg chg="modTransition">
        <pc:chgData name="Cristian Marcelo Olivares Araya" userId="1d1b6056-80c2-43f8-a487-1679e92d181e" providerId="ADAL" clId="{5925378C-91D1-424A-ACB3-4103A395C1DF}" dt="2022-09-07T15:17:18.304" v="0"/>
        <pc:sldMkLst>
          <pc:docMk/>
          <pc:sldMk cId="4137562349" sldId="450"/>
        </pc:sldMkLst>
      </pc:sldChg>
      <pc:sldChg chg="modTransition">
        <pc:chgData name="Cristian Marcelo Olivares Araya" userId="1d1b6056-80c2-43f8-a487-1679e92d181e" providerId="ADAL" clId="{5925378C-91D1-424A-ACB3-4103A395C1DF}" dt="2022-09-07T15:17:18.304" v="0"/>
        <pc:sldMkLst>
          <pc:docMk/>
          <pc:sldMk cId="712621413" sldId="451"/>
        </pc:sldMkLst>
      </pc:sldChg>
      <pc:sldChg chg="modTransition">
        <pc:chgData name="Cristian Marcelo Olivares Araya" userId="1d1b6056-80c2-43f8-a487-1679e92d181e" providerId="ADAL" clId="{5925378C-91D1-424A-ACB3-4103A395C1DF}" dt="2022-09-07T15:17:18.304" v="0"/>
        <pc:sldMkLst>
          <pc:docMk/>
          <pc:sldMk cId="1834154033" sldId="452"/>
        </pc:sldMkLst>
      </pc:sldChg>
      <pc:sldChg chg="modTransition">
        <pc:chgData name="Cristian Marcelo Olivares Araya" userId="1d1b6056-80c2-43f8-a487-1679e92d181e" providerId="ADAL" clId="{5925378C-91D1-424A-ACB3-4103A395C1DF}" dt="2022-09-07T15:17:18.304" v="0"/>
        <pc:sldMkLst>
          <pc:docMk/>
          <pc:sldMk cId="993786819" sldId="454"/>
        </pc:sldMkLst>
      </pc:sldChg>
      <pc:sldChg chg="modTransition">
        <pc:chgData name="Cristian Marcelo Olivares Araya" userId="1d1b6056-80c2-43f8-a487-1679e92d181e" providerId="ADAL" clId="{5925378C-91D1-424A-ACB3-4103A395C1DF}" dt="2022-09-07T15:17:18.304" v="0"/>
        <pc:sldMkLst>
          <pc:docMk/>
          <pc:sldMk cId="755810800" sldId="455"/>
        </pc:sldMkLst>
      </pc:sldChg>
      <pc:sldChg chg="modTransition">
        <pc:chgData name="Cristian Marcelo Olivares Araya" userId="1d1b6056-80c2-43f8-a487-1679e92d181e" providerId="ADAL" clId="{5925378C-91D1-424A-ACB3-4103A395C1DF}" dt="2022-09-07T15:17:18.304" v="0"/>
        <pc:sldMkLst>
          <pc:docMk/>
          <pc:sldMk cId="3369662916" sldId="456"/>
        </pc:sldMkLst>
      </pc:sldChg>
      <pc:sldChg chg="add">
        <pc:chgData name="Cristian Marcelo Olivares Araya" userId="1d1b6056-80c2-43f8-a487-1679e92d181e" providerId="ADAL" clId="{5925378C-91D1-424A-ACB3-4103A395C1DF}" dt="2022-09-08T22:10:19.613" v="1"/>
        <pc:sldMkLst>
          <pc:docMk/>
          <pc:sldMk cId="885757884" sldId="457"/>
        </pc:sldMkLst>
      </pc:sldChg>
      <pc:sldMasterChg chg="delSldLayout">
        <pc:chgData name="Cristian Marcelo Olivares Araya" userId="1d1b6056-80c2-43f8-a487-1679e92d181e" providerId="ADAL" clId="{5925378C-91D1-424A-ACB3-4103A395C1DF}" dt="2022-09-08T22:10:21.846" v="2" actId="47"/>
        <pc:sldMasterMkLst>
          <pc:docMk/>
          <pc:sldMasterMk cId="3299921331" sldId="2147483648"/>
        </pc:sldMasterMkLst>
        <pc:sldLayoutChg chg="del">
          <pc:chgData name="Cristian Marcelo Olivares Araya" userId="1d1b6056-80c2-43f8-a487-1679e92d181e" providerId="ADAL" clId="{5925378C-91D1-424A-ACB3-4103A395C1DF}" dt="2022-09-08T22:10:21.846" v="2" actId="47"/>
          <pc:sldLayoutMkLst>
            <pc:docMk/>
            <pc:sldMasterMk cId="3299921331" sldId="2147483648"/>
            <pc:sldLayoutMk cId="2359818504" sldId="214748366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AB5EA31-4CDB-4A08-A867-2A1B99780CD5}" type="datetimeFigureOut">
              <a:rPr lang="es-ES" smtClean="0"/>
              <a:t>08/09/2022</a:t>
            </a:fld>
            <a:endParaRPr lang="es-ES"/>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0A0428-ABE5-4116-902C-89A6DF8864D3}" type="slidenum">
              <a:rPr lang="es-ES" smtClean="0"/>
              <a:t>‹Nº›</a:t>
            </a:fld>
            <a:endParaRPr lang="es-ES"/>
          </a:p>
        </p:txBody>
      </p:sp>
    </p:spTree>
    <p:extLst>
      <p:ext uri="{BB962C8B-B14F-4D97-AF65-F5344CB8AC3E}">
        <p14:creationId xmlns:p14="http://schemas.microsoft.com/office/powerpoint/2010/main" val="14890732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B02398-51E1-4667-A0F7-E97AD1F32962}" type="datetimeFigureOut">
              <a:rPr lang="es-ES" smtClean="0"/>
              <a:t>07/09/2022</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9470AB5-00EE-4A5C-AE4E-71B8EEE1046C}" type="slidenum">
              <a:rPr lang="es-ES" smtClean="0"/>
              <a:t>‹Nº›</a:t>
            </a:fld>
            <a:endParaRPr lang="es-ES"/>
          </a:p>
        </p:txBody>
      </p:sp>
    </p:spTree>
    <p:extLst>
      <p:ext uri="{BB962C8B-B14F-4D97-AF65-F5344CB8AC3E}">
        <p14:creationId xmlns:p14="http://schemas.microsoft.com/office/powerpoint/2010/main" val="3112830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9470AB5-00EE-4A5C-AE4E-71B8EEE1046C}" type="slidenum">
              <a:rPr lang="es-ES" smtClean="0"/>
              <a:t>16</a:t>
            </a:fld>
            <a:endParaRPr lang="es-ES"/>
          </a:p>
        </p:txBody>
      </p:sp>
    </p:spTree>
    <p:extLst>
      <p:ext uri="{BB962C8B-B14F-4D97-AF65-F5344CB8AC3E}">
        <p14:creationId xmlns:p14="http://schemas.microsoft.com/office/powerpoint/2010/main" val="3445030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9470AB5-00EE-4A5C-AE4E-71B8EEE1046C}" type="slidenum">
              <a:rPr lang="es-ES" smtClean="0"/>
              <a:t>19</a:t>
            </a:fld>
            <a:endParaRPr lang="es-ES"/>
          </a:p>
        </p:txBody>
      </p:sp>
    </p:spTree>
    <p:extLst>
      <p:ext uri="{BB962C8B-B14F-4D97-AF65-F5344CB8AC3E}">
        <p14:creationId xmlns:p14="http://schemas.microsoft.com/office/powerpoint/2010/main" val="410130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F9470AB5-00EE-4A5C-AE4E-71B8EEE1046C}" type="slidenum">
              <a:rPr lang="es-ES" smtClean="0"/>
              <a:t>25</a:t>
            </a:fld>
            <a:endParaRPr lang="es-ES"/>
          </a:p>
        </p:txBody>
      </p:sp>
    </p:spTree>
    <p:extLst>
      <p:ext uri="{BB962C8B-B14F-4D97-AF65-F5344CB8AC3E}">
        <p14:creationId xmlns:p14="http://schemas.microsoft.com/office/powerpoint/2010/main" val="19462629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5286374" y="1093095"/>
            <a:ext cx="3228976" cy="1325563"/>
          </a:xfrm>
          <a:prstGeom prst="rect">
            <a:avLst/>
          </a:prstGeom>
        </p:spPr>
        <p:txBody>
          <a:bodyPr>
            <a:normAutofit/>
          </a:bodyPr>
          <a:lstStyle>
            <a:lvl1pPr algn="l" rtl="0" fontAlgn="base">
              <a:lnSpc>
                <a:spcPct val="90000"/>
              </a:lnSpc>
              <a:spcBef>
                <a:spcPct val="0"/>
              </a:spcBef>
              <a:spcAft>
                <a:spcPct val="0"/>
              </a:spcAft>
              <a:defRPr lang="es-ES" sz="1800" kern="1200" dirty="0">
                <a:solidFill>
                  <a:srgbClr val="505050"/>
                </a:solidFill>
                <a:latin typeface="Arial Black" panose="020B0A04020102020204" pitchFamily="34" charset="0"/>
                <a:ea typeface="+mj-ea"/>
                <a:cs typeface="+mj-cs"/>
              </a:defRPr>
            </a:lvl1pPr>
          </a:lstStyle>
          <a:p>
            <a:r>
              <a:rPr lang="en-US" noProof="0"/>
              <a:t>TITLE</a:t>
            </a:r>
          </a:p>
        </p:txBody>
      </p:sp>
      <p:sp>
        <p:nvSpPr>
          <p:cNvPr id="4" name="Marcador de contenido 3"/>
          <p:cNvSpPr>
            <a:spLocks noGrp="1"/>
          </p:cNvSpPr>
          <p:nvPr>
            <p:ph sz="half" idx="2" hasCustomPrompt="1"/>
          </p:nvPr>
        </p:nvSpPr>
        <p:spPr>
          <a:xfrm>
            <a:off x="5286373" y="2553595"/>
            <a:ext cx="3228977" cy="2986072"/>
          </a:xfrm>
          <a:prstGeom prst="rect">
            <a:avLst/>
          </a:prstGeom>
        </p:spPr>
        <p:txBody>
          <a:bodyPr>
            <a:normAutofit/>
          </a:bodyPr>
          <a:lstStyle>
            <a:lvl1pPr marL="0" indent="0">
              <a:buFontTx/>
              <a:buNone/>
              <a:defRPr sz="1350">
                <a:solidFill>
                  <a:srgbClr val="505050"/>
                </a:solidFill>
              </a:defRPr>
            </a:lvl1pPr>
            <a:lvl2pPr marL="342900" indent="0">
              <a:buFontTx/>
              <a:buNone/>
              <a:defRPr sz="1500">
                <a:solidFill>
                  <a:srgbClr val="505050"/>
                </a:solidFill>
              </a:defRPr>
            </a:lvl2pPr>
            <a:lvl3pPr marL="685800" indent="0">
              <a:buFontTx/>
              <a:buNone/>
              <a:defRPr sz="1350">
                <a:solidFill>
                  <a:srgbClr val="505050"/>
                </a:solidFill>
              </a:defRPr>
            </a:lvl3pPr>
            <a:lvl4pPr marL="1028700" indent="0">
              <a:buFontTx/>
              <a:buNone/>
              <a:defRPr sz="1200">
                <a:solidFill>
                  <a:srgbClr val="505050"/>
                </a:solidFill>
              </a:defRPr>
            </a:lvl4pPr>
            <a:lvl5pPr marL="1371600" indent="0">
              <a:buFontTx/>
              <a:buNone/>
              <a:defRPr sz="1200">
                <a:solidFill>
                  <a:srgbClr val="505050"/>
                </a:solidFill>
              </a:defRPr>
            </a:lvl5pPr>
          </a:lstStyle>
          <a:p>
            <a:pPr lvl="0"/>
            <a:r>
              <a:rPr lang="en-US" noProof="0"/>
              <a:t>Add text</a:t>
            </a:r>
          </a:p>
        </p:txBody>
      </p:sp>
      <p:sp>
        <p:nvSpPr>
          <p:cNvPr id="5" name="Marcador de posición de imagen 4">
            <a:extLst>
              <a:ext uri="{FF2B5EF4-FFF2-40B4-BE49-F238E27FC236}">
                <a16:creationId xmlns:a16="http://schemas.microsoft.com/office/drawing/2014/main" id="{3421E4D4-6199-4D56-BA55-7460548D7A38}"/>
              </a:ext>
            </a:extLst>
          </p:cNvPr>
          <p:cNvSpPr>
            <a:spLocks noGrp="1"/>
          </p:cNvSpPr>
          <p:nvPr>
            <p:ph type="pic" sz="quarter" idx="10"/>
          </p:nvPr>
        </p:nvSpPr>
        <p:spPr>
          <a:xfrm>
            <a:off x="0" y="1"/>
            <a:ext cx="4751785" cy="6857999"/>
          </a:xfrm>
        </p:spPr>
        <p:txBody>
          <a:bodyPr/>
          <a:lstStyle>
            <a:lvl1pPr>
              <a:defRPr>
                <a:solidFill>
                  <a:schemeClr val="bg1"/>
                </a:solidFill>
              </a:defRPr>
            </a:lvl1pPr>
          </a:lstStyle>
          <a:p>
            <a:endParaRPr lang="en-US" noProof="0"/>
          </a:p>
        </p:txBody>
      </p:sp>
      <p:pic>
        <p:nvPicPr>
          <p:cNvPr id="9" name="Imagen 8" descr="Logotipo&#10;&#10;Descripción generada automáticamente">
            <a:extLst>
              <a:ext uri="{FF2B5EF4-FFF2-40B4-BE49-F238E27FC236}">
                <a16:creationId xmlns:a16="http://schemas.microsoft.com/office/drawing/2014/main" id="{EA50A88D-DE79-4AF5-84CB-330A2632EC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90883" y="309904"/>
            <a:ext cx="1449010" cy="491785"/>
          </a:xfrm>
          <a:prstGeom prst="rect">
            <a:avLst/>
          </a:prstGeom>
        </p:spPr>
      </p:pic>
    </p:spTree>
    <p:extLst>
      <p:ext uri="{BB962C8B-B14F-4D97-AF65-F5344CB8AC3E}">
        <p14:creationId xmlns:p14="http://schemas.microsoft.com/office/powerpoint/2010/main" val="526308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pic>
        <p:nvPicPr>
          <p:cNvPr id="2" name="Imagen 1" descr="Icono&#10;&#10;Descripción generada automáticamente">
            <a:extLst>
              <a:ext uri="{FF2B5EF4-FFF2-40B4-BE49-F238E27FC236}">
                <a16:creationId xmlns:a16="http://schemas.microsoft.com/office/drawing/2014/main" id="{ADBEC8F6-3492-3028-BF99-F788FF98F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3" name="Picture 2">
            <a:extLst>
              <a:ext uri="{FF2B5EF4-FFF2-40B4-BE49-F238E27FC236}">
                <a16:creationId xmlns:a16="http://schemas.microsoft.com/office/drawing/2014/main" id="{99E56493-3FA1-B77C-18A3-C78A98138D72}"/>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918" r="56262"/>
          <a:stretch/>
        </p:blipFill>
        <p:spPr bwMode="auto">
          <a:xfrm flipH="1">
            <a:off x="-18059"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0A9A614B-0F29-A439-3000-6D145C2CF22C}"/>
              </a:ext>
            </a:extLst>
          </p:cNvPr>
          <p:cNvGrpSpPr/>
          <p:nvPr userDrawn="1"/>
        </p:nvGrpSpPr>
        <p:grpSpPr>
          <a:xfrm>
            <a:off x="766621" y="2777377"/>
            <a:ext cx="1706102" cy="3944097"/>
            <a:chOff x="766621" y="2777377"/>
            <a:chExt cx="1706102" cy="3944097"/>
          </a:xfrm>
        </p:grpSpPr>
        <p:grpSp>
          <p:nvGrpSpPr>
            <p:cNvPr id="19" name="Grupo 18">
              <a:extLst>
                <a:ext uri="{FF2B5EF4-FFF2-40B4-BE49-F238E27FC236}">
                  <a16:creationId xmlns:a16="http://schemas.microsoft.com/office/drawing/2014/main" id="{0C20E9E0-E018-8226-22E2-96672C314081}"/>
                </a:ext>
              </a:extLst>
            </p:cNvPr>
            <p:cNvGrpSpPr/>
            <p:nvPr userDrawn="1"/>
          </p:nvGrpSpPr>
          <p:grpSpPr>
            <a:xfrm rot="5400000">
              <a:off x="-352377" y="3896375"/>
              <a:ext cx="3944097" cy="1706102"/>
              <a:chOff x="4431" y="1914322"/>
              <a:chExt cx="7303873" cy="1580939"/>
            </a:xfrm>
          </p:grpSpPr>
          <p:sp>
            <p:nvSpPr>
              <p:cNvPr id="21" name="Rectángulo 20">
                <a:extLst>
                  <a:ext uri="{FF2B5EF4-FFF2-40B4-BE49-F238E27FC236}">
                    <a16:creationId xmlns:a16="http://schemas.microsoft.com/office/drawing/2014/main" id="{C8B15517-537E-9382-B13B-111E4A62F1E7}"/>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Rectángulo 21">
                <a:extLst>
                  <a:ext uri="{FF2B5EF4-FFF2-40B4-BE49-F238E27FC236}">
                    <a16:creationId xmlns:a16="http://schemas.microsoft.com/office/drawing/2014/main" id="{D10C33CA-9BE8-A749-B777-3BB2FA8A7CE3}"/>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AA722701-539A-B582-0CAC-B553DF774B3B}"/>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976C3D20-8381-F246-D817-2741F149D7AB}"/>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B5CAA8AE-9D45-79CB-7B18-D2995D86610E}"/>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E8283A95-7EF2-2329-C553-62A8BCFD2B50}"/>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F081DB55-F611-E119-74E4-218ACF718C95}"/>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0" name="Signo más 19">
              <a:extLst>
                <a:ext uri="{FF2B5EF4-FFF2-40B4-BE49-F238E27FC236}">
                  <a16:creationId xmlns:a16="http://schemas.microsoft.com/office/drawing/2014/main" id="{361F9658-4F3C-99F3-7E1E-924160ADEF5C}"/>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8" name="9 CuadroTexto">
            <a:extLst>
              <a:ext uri="{FF2B5EF4-FFF2-40B4-BE49-F238E27FC236}">
                <a16:creationId xmlns:a16="http://schemas.microsoft.com/office/drawing/2014/main" id="{7746E45E-ED42-95BB-0182-85B808F0D9C5}"/>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1877765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396718" y="1988842"/>
            <a:ext cx="8280000" cy="432000"/>
          </a:xfrm>
        </p:spPr>
        <p:txBody>
          <a:bodyPr anchor="t">
            <a:normAutofit/>
          </a:bodyPr>
          <a:lstStyle>
            <a:lvl1pPr algn="l">
              <a:defRPr sz="2400" b="1" cap="none" baseline="0">
                <a:solidFill>
                  <a:srgbClr val="6685C2"/>
                </a:solidFill>
                <a:latin typeface="Arial" pitchFamily="34" charset="0"/>
                <a:cs typeface="Arial" pitchFamily="34" charset="0"/>
              </a:defRPr>
            </a:lvl1pPr>
          </a:lstStyle>
          <a:p>
            <a:r>
              <a:rPr lang="es-ES" dirty="0"/>
              <a:t>título (arial 24, minúscula, negrita, color UC)</a:t>
            </a:r>
          </a:p>
        </p:txBody>
      </p:sp>
      <p:sp>
        <p:nvSpPr>
          <p:cNvPr id="3" name="2 Marcador de texto"/>
          <p:cNvSpPr>
            <a:spLocks noGrp="1"/>
          </p:cNvSpPr>
          <p:nvPr>
            <p:ph type="body" idx="1" hasCustomPrompt="1"/>
          </p:nvPr>
        </p:nvSpPr>
        <p:spPr>
          <a:xfrm>
            <a:off x="395536" y="2420888"/>
            <a:ext cx="8280000" cy="432048"/>
          </a:xfrm>
        </p:spPr>
        <p:txBody>
          <a:bodyPr anchor="t">
            <a:normAutofit/>
          </a:bodyPr>
          <a:lstStyle>
            <a:lvl1pPr marL="0" indent="0">
              <a:buNone/>
              <a:defRPr sz="2000">
                <a:solidFill>
                  <a:schemeClr val="bg2"/>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a:t>subtítulo (arial 20, minúscula, gris oscuro)</a:t>
            </a:r>
          </a:p>
        </p:txBody>
      </p:sp>
      <p:pic>
        <p:nvPicPr>
          <p:cNvPr id="4" name="Imagen 3" descr="Icono&#10;&#10;Descripción generada automáticamente">
            <a:extLst>
              <a:ext uri="{FF2B5EF4-FFF2-40B4-BE49-F238E27FC236}">
                <a16:creationId xmlns:a16="http://schemas.microsoft.com/office/drawing/2014/main" id="{D38D3C4A-2B41-F6DF-86DB-B925E0CBC1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grpSp>
        <p:nvGrpSpPr>
          <p:cNvPr id="16" name="Grupo 15">
            <a:extLst>
              <a:ext uri="{FF2B5EF4-FFF2-40B4-BE49-F238E27FC236}">
                <a16:creationId xmlns:a16="http://schemas.microsoft.com/office/drawing/2014/main" id="{47946ACD-B949-E741-63D2-BF362D099E08}"/>
              </a:ext>
            </a:extLst>
          </p:cNvPr>
          <p:cNvGrpSpPr/>
          <p:nvPr userDrawn="1"/>
        </p:nvGrpSpPr>
        <p:grpSpPr>
          <a:xfrm>
            <a:off x="34374" y="72008"/>
            <a:ext cx="4997152" cy="1268760"/>
            <a:chOff x="34374" y="72008"/>
            <a:chExt cx="4997152" cy="1268760"/>
          </a:xfrm>
        </p:grpSpPr>
        <p:grpSp>
          <p:nvGrpSpPr>
            <p:cNvPr id="5" name="Grupo 4">
              <a:extLst>
                <a:ext uri="{FF2B5EF4-FFF2-40B4-BE49-F238E27FC236}">
                  <a16:creationId xmlns:a16="http://schemas.microsoft.com/office/drawing/2014/main" id="{6B1CDEF8-E36D-428F-0450-9A8EEE0AB413}"/>
                </a:ext>
              </a:extLst>
            </p:cNvPr>
            <p:cNvGrpSpPr/>
            <p:nvPr userDrawn="1"/>
          </p:nvGrpSpPr>
          <p:grpSpPr>
            <a:xfrm>
              <a:off x="34374" y="217368"/>
              <a:ext cx="4997152" cy="883732"/>
              <a:chOff x="4431" y="1914322"/>
              <a:chExt cx="7303873" cy="1580939"/>
            </a:xfrm>
          </p:grpSpPr>
          <p:sp>
            <p:nvSpPr>
              <p:cNvPr id="6" name="Rectángulo 5">
                <a:extLst>
                  <a:ext uri="{FF2B5EF4-FFF2-40B4-BE49-F238E27FC236}">
                    <a16:creationId xmlns:a16="http://schemas.microsoft.com/office/drawing/2014/main" id="{D6F96FBF-F700-D9EC-5E36-F834B99EC77B}"/>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908877A0-2C85-C105-BC5B-54F52B21D6F9}"/>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Rectángulo 7">
                <a:extLst>
                  <a:ext uri="{FF2B5EF4-FFF2-40B4-BE49-F238E27FC236}">
                    <a16:creationId xmlns:a16="http://schemas.microsoft.com/office/drawing/2014/main" id="{DF5E8F79-5C60-6C65-771D-4F2E8803C716}"/>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3040AAEB-FA2B-7A24-6AA6-F2AA1CE1EEC5}"/>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Rectángulo 9">
                <a:extLst>
                  <a:ext uri="{FF2B5EF4-FFF2-40B4-BE49-F238E27FC236}">
                    <a16:creationId xmlns:a16="http://schemas.microsoft.com/office/drawing/2014/main" id="{B16FCBDC-3497-5FC7-F568-9658D57BEF75}"/>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1" name="Rectángulo 10">
                <a:extLst>
                  <a:ext uri="{FF2B5EF4-FFF2-40B4-BE49-F238E27FC236}">
                    <a16:creationId xmlns:a16="http://schemas.microsoft.com/office/drawing/2014/main" id="{0555CC90-992A-9138-F431-0C78DBF1DF2A}"/>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Rectángulo 11">
                <a:extLst>
                  <a:ext uri="{FF2B5EF4-FFF2-40B4-BE49-F238E27FC236}">
                    <a16:creationId xmlns:a16="http://schemas.microsoft.com/office/drawing/2014/main" id="{38285350-9AD1-71B7-7056-049C09680511}"/>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15" name="Signo más 14">
              <a:extLst>
                <a:ext uri="{FF2B5EF4-FFF2-40B4-BE49-F238E27FC236}">
                  <a16:creationId xmlns:a16="http://schemas.microsoft.com/office/drawing/2014/main" id="{D558D614-7885-AAAA-7654-668F891298FF}"/>
                </a:ext>
              </a:extLst>
            </p:cNvPr>
            <p:cNvSpPr/>
            <p:nvPr userDrawn="1"/>
          </p:nvSpPr>
          <p:spPr>
            <a:xfrm>
              <a:off x="1750736" y="72008"/>
              <a:ext cx="771951" cy="1268760"/>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Tree>
    <p:extLst>
      <p:ext uri="{BB962C8B-B14F-4D97-AF65-F5344CB8AC3E}">
        <p14:creationId xmlns:p14="http://schemas.microsoft.com/office/powerpoint/2010/main" val="2704222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395536" y="1988840"/>
            <a:ext cx="8280920" cy="432048"/>
          </a:xfrm>
        </p:spPr>
        <p:txBody>
          <a:bodyPr anchor="t">
            <a:normAutofit/>
          </a:bodyPr>
          <a:lstStyle>
            <a:lvl1pPr algn="l">
              <a:defRPr sz="2400" b="1" baseline="0">
                <a:solidFill>
                  <a:srgbClr val="6685C2"/>
                </a:solidFill>
                <a:latin typeface="Arial" pitchFamily="34" charset="0"/>
                <a:cs typeface="Arial" pitchFamily="34" charset="0"/>
              </a:defRPr>
            </a:lvl1pPr>
          </a:lstStyle>
          <a:p>
            <a:r>
              <a:rPr lang="es-ES" dirty="0"/>
              <a:t>título (arial 24, minúscula, negrita, color UC)</a:t>
            </a:r>
          </a:p>
        </p:txBody>
      </p:sp>
      <p:sp>
        <p:nvSpPr>
          <p:cNvPr id="3" name="2 Marcador de texto"/>
          <p:cNvSpPr>
            <a:spLocks noGrp="1"/>
          </p:cNvSpPr>
          <p:nvPr>
            <p:ph type="body" idx="1" hasCustomPrompt="1"/>
          </p:nvPr>
        </p:nvSpPr>
        <p:spPr>
          <a:xfrm>
            <a:off x="395536" y="2420888"/>
            <a:ext cx="8280920" cy="432048"/>
          </a:xfrm>
        </p:spPr>
        <p:txBody>
          <a:bodyPr anchor="t">
            <a:noAutofit/>
          </a:bodyPr>
          <a:lstStyle>
            <a:lvl1pPr marL="0" indent="0">
              <a:buNone/>
              <a:defRPr sz="2000" b="0">
                <a:solidFill>
                  <a:schemeClr val="bg2"/>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subtítulo (arial 20, minúscula, gris oscuro)</a:t>
            </a:r>
          </a:p>
        </p:txBody>
      </p:sp>
      <p:sp>
        <p:nvSpPr>
          <p:cNvPr id="4" name="3 Marcador de contenido"/>
          <p:cNvSpPr>
            <a:spLocks noGrp="1"/>
          </p:cNvSpPr>
          <p:nvPr>
            <p:ph sz="half" idx="2" hasCustomPrompt="1"/>
          </p:nvPr>
        </p:nvSpPr>
        <p:spPr>
          <a:xfrm>
            <a:off x="395536" y="2964085"/>
            <a:ext cx="8280920" cy="3273227"/>
          </a:xfr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500" b="0" i="0" u="none" strike="noStrike" baseline="0" smtClean="0">
                <a:solidFill>
                  <a:schemeClr val="bg2"/>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dirty="0"/>
              <a:t>Ejemplo de texto (arial 15, gris)</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s-ES" dirty="0"/>
              <a:t>Ejemplo de texto Ejemplo de texto Ejemplo de texto</a:t>
            </a:r>
          </a:p>
        </p:txBody>
      </p:sp>
      <p:sp>
        <p:nvSpPr>
          <p:cNvPr id="8" name="7 Marcador de pie de página"/>
          <p:cNvSpPr>
            <a:spLocks noGrp="1"/>
          </p:cNvSpPr>
          <p:nvPr>
            <p:ph type="ftr" sz="quarter" idx="11"/>
          </p:nvPr>
        </p:nvSpPr>
        <p:spPr>
          <a:xfrm>
            <a:off x="395536" y="6381328"/>
            <a:ext cx="2895600" cy="365125"/>
          </a:xfrm>
        </p:spPr>
        <p:txBody>
          <a:bodyPr/>
          <a:lstStyle>
            <a:lvl1pPr algn="l">
              <a:defRPr>
                <a:solidFill>
                  <a:schemeClr val="bg2"/>
                </a:solidFill>
              </a:defRPr>
            </a:lvl1pPr>
          </a:lstStyle>
          <a:p>
            <a:endParaRPr lang="es-ES" dirty="0"/>
          </a:p>
        </p:txBody>
      </p:sp>
      <p:sp>
        <p:nvSpPr>
          <p:cNvPr id="9" name="8 Marcador de número de diapositiva"/>
          <p:cNvSpPr>
            <a:spLocks noGrp="1"/>
          </p:cNvSpPr>
          <p:nvPr>
            <p:ph type="sldNum" sz="quarter" idx="12"/>
          </p:nvPr>
        </p:nvSpPr>
        <p:spPr>
          <a:xfrm>
            <a:off x="8028384" y="6356350"/>
            <a:ext cx="658416" cy="365125"/>
          </a:xfrm>
        </p:spPr>
        <p:txBody>
          <a:bodyPr/>
          <a:lstStyle>
            <a:lvl1pPr>
              <a:defRPr>
                <a:solidFill>
                  <a:schemeClr val="bg2"/>
                </a:solidFill>
              </a:defRPr>
            </a:lvl1pPr>
          </a:lstStyle>
          <a:p>
            <a:fld id="{E60061AB-E3E3-4B82-98B1-945D99ABF5FB}" type="slidenum">
              <a:rPr lang="es-ES" smtClean="0"/>
              <a:pPr/>
              <a:t>‹Nº›</a:t>
            </a:fld>
            <a:endParaRPr lang="es-ES" dirty="0"/>
          </a:p>
        </p:txBody>
      </p:sp>
      <p:pic>
        <p:nvPicPr>
          <p:cNvPr id="6" name="Imagen 5" descr="Icono&#10;&#10;Descripción generada automáticamente">
            <a:extLst>
              <a:ext uri="{FF2B5EF4-FFF2-40B4-BE49-F238E27FC236}">
                <a16:creationId xmlns:a16="http://schemas.microsoft.com/office/drawing/2014/main" id="{99823C11-550D-D756-2C24-0992D9413B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grpSp>
        <p:nvGrpSpPr>
          <p:cNvPr id="19" name="Grupo 18">
            <a:extLst>
              <a:ext uri="{FF2B5EF4-FFF2-40B4-BE49-F238E27FC236}">
                <a16:creationId xmlns:a16="http://schemas.microsoft.com/office/drawing/2014/main" id="{7C31AB0B-99E6-0C3B-6104-BC8867EB82C2}"/>
              </a:ext>
            </a:extLst>
          </p:cNvPr>
          <p:cNvGrpSpPr/>
          <p:nvPr userDrawn="1"/>
        </p:nvGrpSpPr>
        <p:grpSpPr>
          <a:xfrm>
            <a:off x="34374" y="72008"/>
            <a:ext cx="4997152" cy="1268760"/>
            <a:chOff x="34374" y="72008"/>
            <a:chExt cx="4997152" cy="1268760"/>
          </a:xfrm>
        </p:grpSpPr>
        <p:grpSp>
          <p:nvGrpSpPr>
            <p:cNvPr id="20" name="Grupo 19">
              <a:extLst>
                <a:ext uri="{FF2B5EF4-FFF2-40B4-BE49-F238E27FC236}">
                  <a16:creationId xmlns:a16="http://schemas.microsoft.com/office/drawing/2014/main" id="{C594812C-D337-D555-0818-FC91E3F0C52D}"/>
                </a:ext>
              </a:extLst>
            </p:cNvPr>
            <p:cNvGrpSpPr/>
            <p:nvPr userDrawn="1"/>
          </p:nvGrpSpPr>
          <p:grpSpPr>
            <a:xfrm>
              <a:off x="34374" y="217368"/>
              <a:ext cx="4997152" cy="883732"/>
              <a:chOff x="4431" y="1914322"/>
              <a:chExt cx="7303873" cy="1580939"/>
            </a:xfrm>
          </p:grpSpPr>
          <p:sp>
            <p:nvSpPr>
              <p:cNvPr id="22" name="Rectángulo 21">
                <a:extLst>
                  <a:ext uri="{FF2B5EF4-FFF2-40B4-BE49-F238E27FC236}">
                    <a16:creationId xmlns:a16="http://schemas.microsoft.com/office/drawing/2014/main" id="{6EF4FD74-442D-E6D6-456A-69C2C049555F}"/>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49B6BC03-6F25-6615-D45B-029FFEF01246}"/>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CA77D6A5-F98F-4D0F-7E7F-A9138A108FCE}"/>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896E2C75-29A0-581F-1D49-8434F0F27014}"/>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0971326E-9717-C540-758E-7A00700D8A33}"/>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C1209CC1-2BC9-8A13-7A01-28B7B4B932C0}"/>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8" name="Rectángulo 27">
                <a:extLst>
                  <a:ext uri="{FF2B5EF4-FFF2-40B4-BE49-F238E27FC236}">
                    <a16:creationId xmlns:a16="http://schemas.microsoft.com/office/drawing/2014/main" id="{77FDD876-DE3B-86D1-0957-C3A1DCFE5BE2}"/>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1" name="Signo más 20">
              <a:extLst>
                <a:ext uri="{FF2B5EF4-FFF2-40B4-BE49-F238E27FC236}">
                  <a16:creationId xmlns:a16="http://schemas.microsoft.com/office/drawing/2014/main" id="{EA48AAC7-E502-1BA4-69AC-473F5722CA0A}"/>
                </a:ext>
              </a:extLst>
            </p:cNvPr>
            <p:cNvSpPr/>
            <p:nvPr userDrawn="1"/>
          </p:nvSpPr>
          <p:spPr>
            <a:xfrm>
              <a:off x="1750736" y="72008"/>
              <a:ext cx="771951" cy="1268760"/>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Tree>
    <p:extLst>
      <p:ext uri="{BB962C8B-B14F-4D97-AF65-F5344CB8AC3E}">
        <p14:creationId xmlns:p14="http://schemas.microsoft.com/office/powerpoint/2010/main" val="3389150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hasCustomPrompt="1"/>
          </p:nvPr>
        </p:nvSpPr>
        <p:spPr>
          <a:xfrm>
            <a:off x="251520" y="4797152"/>
            <a:ext cx="6408712" cy="288032"/>
          </a:xfrm>
        </p:spPr>
        <p:txBody>
          <a:bodyPr>
            <a:noAutofit/>
          </a:bodyPr>
          <a:lstStyle>
            <a:lvl1pPr algn="l">
              <a:defRPr sz="2000" b="1" baseline="0">
                <a:solidFill>
                  <a:schemeClr val="bg2"/>
                </a:solidFill>
                <a:latin typeface="Arial" pitchFamily="34" charset="0"/>
                <a:cs typeface="Arial" pitchFamily="34" charset="0"/>
              </a:defRPr>
            </a:lvl1pPr>
          </a:lstStyle>
          <a:p>
            <a:r>
              <a:rPr lang="es-ES" dirty="0"/>
              <a:t>título de presentación (arial 20, minúsculas, </a:t>
            </a:r>
            <a:r>
              <a:rPr lang="es-ES" dirty="0" err="1"/>
              <a:t>bold</a:t>
            </a:r>
            <a:r>
              <a:rPr lang="es-ES" dirty="0"/>
              <a:t>)</a:t>
            </a:r>
          </a:p>
        </p:txBody>
      </p:sp>
      <p:sp>
        <p:nvSpPr>
          <p:cNvPr id="3" name="2 Subtítulo"/>
          <p:cNvSpPr>
            <a:spLocks noGrp="1"/>
          </p:cNvSpPr>
          <p:nvPr>
            <p:ph type="subTitle" idx="1" hasCustomPrompt="1"/>
          </p:nvPr>
        </p:nvSpPr>
        <p:spPr>
          <a:xfrm>
            <a:off x="251520" y="5085184"/>
            <a:ext cx="6400800" cy="1152128"/>
          </a:xfrm>
        </p:spPr>
        <p:txBody>
          <a:bodyPr>
            <a:normAutofit/>
          </a:bodyPr>
          <a:lstStyle>
            <a:lvl1pPr marL="0" indent="0" algn="l">
              <a:buNone/>
              <a:defRPr sz="1600" baseline="0">
                <a:solidFill>
                  <a:schemeClr val="bg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a:t>subtítulo de la presentación de ejemplo (arial 16, minúsculas)</a:t>
            </a:r>
          </a:p>
        </p:txBody>
      </p:sp>
      <p:sp>
        <p:nvSpPr>
          <p:cNvPr id="6" name="5 Marcador de número de diapositiva"/>
          <p:cNvSpPr>
            <a:spLocks noGrp="1"/>
          </p:cNvSpPr>
          <p:nvPr>
            <p:ph type="sldNum" sz="quarter" idx="12"/>
          </p:nvPr>
        </p:nvSpPr>
        <p:spPr>
          <a:xfrm>
            <a:off x="8100392" y="6160219"/>
            <a:ext cx="586408" cy="365125"/>
          </a:xfrm>
        </p:spPr>
        <p:txBody>
          <a:bodyPr/>
          <a:lstStyle/>
          <a:p>
            <a:fld id="{E60061AB-E3E3-4B82-98B1-945D99ABF5FB}" type="slidenum">
              <a:rPr lang="es-ES" smtClean="0"/>
              <a:t>‹Nº›</a:t>
            </a:fld>
            <a:endParaRPr lang="es-ES" dirty="0"/>
          </a:p>
        </p:txBody>
      </p:sp>
      <p:pic>
        <p:nvPicPr>
          <p:cNvPr id="4" name="Imagen 3" descr="Icono&#10;&#10;Descripción generada automáticamente">
            <a:extLst>
              <a:ext uri="{FF2B5EF4-FFF2-40B4-BE49-F238E27FC236}">
                <a16:creationId xmlns:a16="http://schemas.microsoft.com/office/drawing/2014/main" id="{DE66B266-51F9-15F0-1652-6A9EFC2BDF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spTree>
    <p:extLst>
      <p:ext uri="{BB962C8B-B14F-4D97-AF65-F5344CB8AC3E}">
        <p14:creationId xmlns:p14="http://schemas.microsoft.com/office/powerpoint/2010/main" val="1280834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7_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idx="1"/>
          </p:nvPr>
        </p:nvSpPr>
        <p:spPr>
          <a:xfrm>
            <a:off x="295163" y="1520415"/>
            <a:ext cx="8440046" cy="4991548"/>
          </a:xfrm>
          <a:prstGeom prst="rect">
            <a:avLst/>
          </a:prstGeo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a:xfrm>
            <a:off x="628650" y="6356351"/>
            <a:ext cx="2057400" cy="366183"/>
          </a:xfrm>
          <a:prstGeom prst="rect">
            <a:avLst/>
          </a:prstGeom>
        </p:spPr>
        <p:txBody>
          <a:bodyPr/>
          <a:lstStyle/>
          <a:p>
            <a:endParaRPr lang="es-ES_tradnl"/>
          </a:p>
        </p:txBody>
      </p:sp>
      <p:sp>
        <p:nvSpPr>
          <p:cNvPr id="5" name="Marcador de pie de página 4"/>
          <p:cNvSpPr>
            <a:spLocks noGrp="1"/>
          </p:cNvSpPr>
          <p:nvPr>
            <p:ph type="ftr" sz="quarter" idx="11"/>
          </p:nvPr>
        </p:nvSpPr>
        <p:spPr>
          <a:xfrm>
            <a:off x="3028950" y="6356351"/>
            <a:ext cx="3086100" cy="366183"/>
          </a:xfrm>
          <a:prstGeom prst="rect">
            <a:avLst/>
          </a:prstGeom>
        </p:spPr>
        <p:txBody>
          <a:bodyPr/>
          <a:lstStyle/>
          <a:p>
            <a:endParaRPr lang="es-ES_tradnl"/>
          </a:p>
        </p:txBody>
      </p:sp>
      <p:sp>
        <p:nvSpPr>
          <p:cNvPr id="6" name="Marcador de número de diapositiva 5"/>
          <p:cNvSpPr>
            <a:spLocks noGrp="1"/>
          </p:cNvSpPr>
          <p:nvPr>
            <p:ph type="sldNum" sz="quarter" idx="12"/>
          </p:nvPr>
        </p:nvSpPr>
        <p:spPr>
          <a:xfrm>
            <a:off x="6457950" y="6356351"/>
            <a:ext cx="2057400" cy="366183"/>
          </a:xfrm>
          <a:prstGeom prst="rect">
            <a:avLst/>
          </a:prstGeom>
        </p:spPr>
        <p:txBody>
          <a:bodyPr/>
          <a:lstStyle/>
          <a:p>
            <a:fld id="{4FB9B64F-B835-624B-A0DE-35560A23F959}" type="slidenum">
              <a:rPr lang="es-ES_tradnl" smtClean="0"/>
              <a:t>‹Nº›</a:t>
            </a:fld>
            <a:endParaRPr lang="es-ES_tradnl"/>
          </a:p>
        </p:txBody>
      </p:sp>
    </p:spTree>
    <p:extLst>
      <p:ext uri="{BB962C8B-B14F-4D97-AF65-F5344CB8AC3E}">
        <p14:creationId xmlns:p14="http://schemas.microsoft.com/office/powerpoint/2010/main" val="31042763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20"/>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2" name="Objeto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21" name="Shape 21"/>
          <p:cNvSpPr txBox="1">
            <a:spLocks noGrp="1"/>
          </p:cNvSpPr>
          <p:nvPr>
            <p:ph type="title"/>
          </p:nvPr>
        </p:nvSpPr>
        <p:spPr>
          <a:xfrm>
            <a:off x="311700" y="148717"/>
            <a:ext cx="7380018"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1"/>
          </p:nvPr>
        </p:nvSpPr>
        <p:spPr>
          <a:xfrm>
            <a:off x="311700" y="1276575"/>
            <a:ext cx="8520600" cy="4815259"/>
          </a:xfrm>
          <a:prstGeom prst="rect">
            <a:avLst/>
          </a:prstGeom>
        </p:spPr>
        <p:txBody>
          <a:bodyPr lIns="91425" tIns="91425" rIns="91425" bIns="91425" anchor="t" anchorCtr="0">
            <a:normAutofit/>
          </a:bodyPr>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Tree>
    <p:extLst>
      <p:ext uri="{BB962C8B-B14F-4D97-AF65-F5344CB8AC3E}">
        <p14:creationId xmlns:p14="http://schemas.microsoft.com/office/powerpoint/2010/main" val="2402832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1 Título"/>
          <p:cNvSpPr>
            <a:spLocks noGrp="1"/>
          </p:cNvSpPr>
          <p:nvPr>
            <p:ph type="ctrTitle" hasCustomPrompt="1"/>
          </p:nvPr>
        </p:nvSpPr>
        <p:spPr>
          <a:xfrm>
            <a:off x="251520" y="4797152"/>
            <a:ext cx="6408712" cy="288032"/>
          </a:xfrm>
        </p:spPr>
        <p:txBody>
          <a:bodyPr>
            <a:noAutofit/>
          </a:bodyPr>
          <a:lstStyle>
            <a:lvl1pPr algn="l">
              <a:defRPr sz="2000" b="1" baseline="0">
                <a:solidFill>
                  <a:schemeClr val="bg1">
                    <a:lumMod val="50000"/>
                  </a:schemeClr>
                </a:solidFill>
                <a:latin typeface="Arial" pitchFamily="34" charset="0"/>
                <a:cs typeface="Arial" pitchFamily="34" charset="0"/>
              </a:defRPr>
            </a:lvl1pPr>
          </a:lstStyle>
          <a:p>
            <a:r>
              <a:rPr lang="es-ES" dirty="0"/>
              <a:t>título de presentación (arial 20, minúsculas, </a:t>
            </a:r>
            <a:r>
              <a:rPr lang="es-ES" dirty="0" err="1"/>
              <a:t>bold</a:t>
            </a:r>
            <a:r>
              <a:rPr lang="es-ES" dirty="0"/>
              <a:t>)</a:t>
            </a:r>
          </a:p>
        </p:txBody>
      </p:sp>
      <p:sp>
        <p:nvSpPr>
          <p:cNvPr id="3" name="2 Subtítulo"/>
          <p:cNvSpPr>
            <a:spLocks noGrp="1"/>
          </p:cNvSpPr>
          <p:nvPr>
            <p:ph type="subTitle" idx="1" hasCustomPrompt="1"/>
          </p:nvPr>
        </p:nvSpPr>
        <p:spPr>
          <a:xfrm>
            <a:off x="251520" y="5085184"/>
            <a:ext cx="6400800" cy="1152128"/>
          </a:xfrm>
        </p:spPr>
        <p:txBody>
          <a:bodyPr>
            <a:normAutofit/>
          </a:bodyPr>
          <a:lstStyle>
            <a:lvl1pPr marL="0" indent="0" algn="l">
              <a:buNone/>
              <a:defRPr sz="1600" baseline="0">
                <a:solidFill>
                  <a:schemeClr val="bg1">
                    <a:lumMod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a:t>subtítulo de la presentación de ejemplo (arial 16, minúsculas)</a:t>
            </a:r>
          </a:p>
        </p:txBody>
      </p:sp>
      <p:sp>
        <p:nvSpPr>
          <p:cNvPr id="6" name="5 Marcador de número de diapositiva"/>
          <p:cNvSpPr>
            <a:spLocks noGrp="1"/>
          </p:cNvSpPr>
          <p:nvPr>
            <p:ph type="sldNum" sz="quarter" idx="12"/>
          </p:nvPr>
        </p:nvSpPr>
        <p:spPr>
          <a:xfrm>
            <a:off x="8100392" y="6160219"/>
            <a:ext cx="586408" cy="365125"/>
          </a:xfrm>
        </p:spPr>
        <p:txBody>
          <a:bodyPr/>
          <a:lstStyle/>
          <a:p>
            <a:fld id="{E60061AB-E3E3-4B82-98B1-945D99ABF5FB}" type="slidenum">
              <a:rPr lang="es-ES" smtClean="0"/>
              <a:t>‹Nº›</a:t>
            </a:fld>
            <a:endParaRPr lang="es-ES" dirty="0"/>
          </a:p>
        </p:txBody>
      </p:sp>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l="5089" r="5089"/>
          <a:stretch/>
        </p:blipFill>
        <p:spPr bwMode="auto">
          <a:xfrm>
            <a:off x="0" y="-27384"/>
            <a:ext cx="9144000" cy="3425952"/>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a:extLst>
              <a:ext uri="{FF2B5EF4-FFF2-40B4-BE49-F238E27FC236}">
                <a16:creationId xmlns:a16="http://schemas.microsoft.com/office/drawing/2014/main" id="{87E89FC2-127F-B2B5-12C8-198D72BF8E0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3813" y="477204"/>
            <a:ext cx="2448485" cy="364060"/>
          </a:xfrm>
          <a:prstGeom prst="rect">
            <a:avLst/>
          </a:prstGeom>
        </p:spPr>
      </p:pic>
      <p:sp>
        <p:nvSpPr>
          <p:cNvPr id="5" name="Rectángulo 4">
            <a:extLst>
              <a:ext uri="{FF2B5EF4-FFF2-40B4-BE49-F238E27FC236}">
                <a16:creationId xmlns:a16="http://schemas.microsoft.com/office/drawing/2014/main" id="{3F2E82FB-57AE-2056-209A-362981A067A7}"/>
              </a:ext>
            </a:extLst>
          </p:cNvPr>
          <p:cNvSpPr/>
          <p:nvPr userDrawn="1"/>
        </p:nvSpPr>
        <p:spPr>
          <a:xfrm>
            <a:off x="9468545" y="158603"/>
            <a:ext cx="265471" cy="280219"/>
          </a:xfrm>
          <a:prstGeom prst="rect">
            <a:avLst/>
          </a:prstGeom>
          <a:solidFill>
            <a:srgbClr val="6785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B841B70E-ED53-D5F4-AAC1-87D1CCB84F8C}"/>
              </a:ext>
            </a:extLst>
          </p:cNvPr>
          <p:cNvSpPr/>
          <p:nvPr userDrawn="1"/>
        </p:nvSpPr>
        <p:spPr>
          <a:xfrm>
            <a:off x="9468544" y="552658"/>
            <a:ext cx="265471" cy="280219"/>
          </a:xfrm>
          <a:prstGeom prst="rect">
            <a:avLst/>
          </a:prstGeom>
          <a:solidFill>
            <a:srgbClr val="B5C4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6ABF27A2-3DE8-93B0-C688-1A9E4ACC5B3F}"/>
              </a:ext>
            </a:extLst>
          </p:cNvPr>
          <p:cNvSpPr/>
          <p:nvPr userDrawn="1"/>
        </p:nvSpPr>
        <p:spPr>
          <a:xfrm>
            <a:off x="9468544" y="946713"/>
            <a:ext cx="265471" cy="280219"/>
          </a:xfrm>
          <a:prstGeom prst="rect">
            <a:avLst/>
          </a:prstGeom>
          <a:solidFill>
            <a:srgbClr val="3854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Rectángulo 9">
            <a:extLst>
              <a:ext uri="{FF2B5EF4-FFF2-40B4-BE49-F238E27FC236}">
                <a16:creationId xmlns:a16="http://schemas.microsoft.com/office/drawing/2014/main" id="{AA5C702E-43F5-8327-6030-0D8BBAB0A5D4}"/>
              </a:ext>
            </a:extLst>
          </p:cNvPr>
          <p:cNvSpPr/>
          <p:nvPr userDrawn="1"/>
        </p:nvSpPr>
        <p:spPr>
          <a:xfrm>
            <a:off x="9468544" y="1340768"/>
            <a:ext cx="265471" cy="28021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4102010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sp>
        <p:nvSpPr>
          <p:cNvPr id="2" name="1 Título"/>
          <p:cNvSpPr>
            <a:spLocks noGrp="1"/>
          </p:cNvSpPr>
          <p:nvPr>
            <p:ph type="ctrTitle" hasCustomPrompt="1"/>
          </p:nvPr>
        </p:nvSpPr>
        <p:spPr>
          <a:xfrm>
            <a:off x="251520" y="4797152"/>
            <a:ext cx="6408712" cy="288032"/>
          </a:xfrm>
        </p:spPr>
        <p:txBody>
          <a:bodyPr>
            <a:noAutofit/>
          </a:bodyPr>
          <a:lstStyle>
            <a:lvl1pPr algn="l">
              <a:defRPr sz="2000" b="1" baseline="0">
                <a:solidFill>
                  <a:schemeClr val="bg1">
                    <a:lumMod val="50000"/>
                  </a:schemeClr>
                </a:solidFill>
                <a:latin typeface="Arial" pitchFamily="34" charset="0"/>
                <a:cs typeface="Arial" pitchFamily="34" charset="0"/>
              </a:defRPr>
            </a:lvl1pPr>
          </a:lstStyle>
          <a:p>
            <a:r>
              <a:rPr lang="es-ES" dirty="0"/>
              <a:t>título de presentación (arial 20, minúsculas, </a:t>
            </a:r>
            <a:r>
              <a:rPr lang="es-ES" dirty="0" err="1"/>
              <a:t>bold</a:t>
            </a:r>
            <a:r>
              <a:rPr lang="es-ES" dirty="0"/>
              <a:t>)</a:t>
            </a:r>
          </a:p>
        </p:txBody>
      </p:sp>
      <p:sp>
        <p:nvSpPr>
          <p:cNvPr id="3" name="2 Subtítulo"/>
          <p:cNvSpPr>
            <a:spLocks noGrp="1"/>
          </p:cNvSpPr>
          <p:nvPr>
            <p:ph type="subTitle" idx="1" hasCustomPrompt="1"/>
          </p:nvPr>
        </p:nvSpPr>
        <p:spPr>
          <a:xfrm>
            <a:off x="251520" y="5085184"/>
            <a:ext cx="6400800" cy="1152128"/>
          </a:xfrm>
        </p:spPr>
        <p:txBody>
          <a:bodyPr>
            <a:normAutofit/>
          </a:bodyPr>
          <a:lstStyle>
            <a:lvl1pPr marL="0" indent="0" algn="l">
              <a:buNone/>
              <a:defRPr sz="1600" baseline="0">
                <a:solidFill>
                  <a:schemeClr val="bg1">
                    <a:lumMod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a:t>subtítulo de la presentación de ejemplo (arial 16, minúsculas)</a:t>
            </a:r>
          </a:p>
        </p:txBody>
      </p:sp>
      <p:sp>
        <p:nvSpPr>
          <p:cNvPr id="6" name="5 Marcador de número de diapositiva"/>
          <p:cNvSpPr>
            <a:spLocks noGrp="1"/>
          </p:cNvSpPr>
          <p:nvPr>
            <p:ph type="sldNum" sz="quarter" idx="12"/>
          </p:nvPr>
        </p:nvSpPr>
        <p:spPr>
          <a:xfrm>
            <a:off x="8100392" y="6160219"/>
            <a:ext cx="586408" cy="365125"/>
          </a:xfrm>
        </p:spPr>
        <p:txBody>
          <a:bodyPr/>
          <a:lstStyle/>
          <a:p>
            <a:fld id="{E60061AB-E3E3-4B82-98B1-945D99ABF5FB}" type="slidenum">
              <a:rPr lang="es-ES" smtClean="0"/>
              <a:t>‹Nº›</a:t>
            </a:fld>
            <a:endParaRPr lang="es-ES" dirty="0"/>
          </a:p>
        </p:txBody>
      </p:sp>
      <p:pic>
        <p:nvPicPr>
          <p:cNvPr id="4" name="Imagen 3" descr="Icono&#10;&#10;Descripción generada automáticamente">
            <a:extLst>
              <a:ext uri="{FF2B5EF4-FFF2-40B4-BE49-F238E27FC236}">
                <a16:creationId xmlns:a16="http://schemas.microsoft.com/office/drawing/2014/main" id="{2FEC063B-D2B3-B41F-665F-94093868F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sp>
        <p:nvSpPr>
          <p:cNvPr id="7" name="Rectángulo 6">
            <a:extLst>
              <a:ext uri="{FF2B5EF4-FFF2-40B4-BE49-F238E27FC236}">
                <a16:creationId xmlns:a16="http://schemas.microsoft.com/office/drawing/2014/main" id="{3FE10464-0F59-8790-DD21-317F7E2584C7}"/>
              </a:ext>
            </a:extLst>
          </p:cNvPr>
          <p:cNvSpPr/>
          <p:nvPr userDrawn="1"/>
        </p:nvSpPr>
        <p:spPr>
          <a:xfrm>
            <a:off x="9468545" y="158603"/>
            <a:ext cx="265471" cy="280219"/>
          </a:xfrm>
          <a:prstGeom prst="rect">
            <a:avLst/>
          </a:prstGeom>
          <a:solidFill>
            <a:srgbClr val="6785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 name="Rectángulo 7">
            <a:extLst>
              <a:ext uri="{FF2B5EF4-FFF2-40B4-BE49-F238E27FC236}">
                <a16:creationId xmlns:a16="http://schemas.microsoft.com/office/drawing/2014/main" id="{A8D305D6-4D59-3A6D-5F09-180A81446F48}"/>
              </a:ext>
            </a:extLst>
          </p:cNvPr>
          <p:cNvSpPr/>
          <p:nvPr userDrawn="1"/>
        </p:nvSpPr>
        <p:spPr>
          <a:xfrm>
            <a:off x="9468544" y="552658"/>
            <a:ext cx="265471" cy="280219"/>
          </a:xfrm>
          <a:prstGeom prst="rect">
            <a:avLst/>
          </a:prstGeom>
          <a:solidFill>
            <a:srgbClr val="B5C4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784FC676-6BC0-F8B5-64F8-794F9E0C95DA}"/>
              </a:ext>
            </a:extLst>
          </p:cNvPr>
          <p:cNvSpPr/>
          <p:nvPr userDrawn="1"/>
        </p:nvSpPr>
        <p:spPr>
          <a:xfrm>
            <a:off x="9468544" y="946713"/>
            <a:ext cx="265471" cy="280219"/>
          </a:xfrm>
          <a:prstGeom prst="rect">
            <a:avLst/>
          </a:prstGeom>
          <a:solidFill>
            <a:srgbClr val="3854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Rectángulo 9">
            <a:extLst>
              <a:ext uri="{FF2B5EF4-FFF2-40B4-BE49-F238E27FC236}">
                <a16:creationId xmlns:a16="http://schemas.microsoft.com/office/drawing/2014/main" id="{9FF48638-141E-E130-8F8F-E848703540DF}"/>
              </a:ext>
            </a:extLst>
          </p:cNvPr>
          <p:cNvSpPr/>
          <p:nvPr userDrawn="1"/>
        </p:nvSpPr>
        <p:spPr>
          <a:xfrm>
            <a:off x="9468544" y="1340768"/>
            <a:ext cx="265471" cy="28021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nvGrpSpPr>
          <p:cNvPr id="30" name="Grupo 29">
            <a:extLst>
              <a:ext uri="{FF2B5EF4-FFF2-40B4-BE49-F238E27FC236}">
                <a16:creationId xmlns:a16="http://schemas.microsoft.com/office/drawing/2014/main" id="{FE63CA8D-634F-185C-9992-E5DF86F418E1}"/>
              </a:ext>
            </a:extLst>
          </p:cNvPr>
          <p:cNvGrpSpPr/>
          <p:nvPr userDrawn="1"/>
        </p:nvGrpSpPr>
        <p:grpSpPr>
          <a:xfrm>
            <a:off x="4431" y="1914322"/>
            <a:ext cx="7303873" cy="1580939"/>
            <a:chOff x="4431" y="1914322"/>
            <a:chExt cx="7303873" cy="1580939"/>
          </a:xfrm>
        </p:grpSpPr>
        <p:sp>
          <p:nvSpPr>
            <p:cNvPr id="5" name="Rectángulo 4">
              <a:extLst>
                <a:ext uri="{FF2B5EF4-FFF2-40B4-BE49-F238E27FC236}">
                  <a16:creationId xmlns:a16="http://schemas.microsoft.com/office/drawing/2014/main" id="{8697E034-D799-55C5-611C-99680FBDEC5A}"/>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Rectángulo 11">
              <a:extLst>
                <a:ext uri="{FF2B5EF4-FFF2-40B4-BE49-F238E27FC236}">
                  <a16:creationId xmlns:a16="http://schemas.microsoft.com/office/drawing/2014/main" id="{37852D10-88C2-9A56-7F0F-5053018DA736}"/>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Rectángulo 13">
              <a:extLst>
                <a:ext uri="{FF2B5EF4-FFF2-40B4-BE49-F238E27FC236}">
                  <a16:creationId xmlns:a16="http://schemas.microsoft.com/office/drawing/2014/main" id="{20102D28-575F-CDA3-BA50-6B017BF320C8}"/>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Rectángulo 14">
              <a:extLst>
                <a:ext uri="{FF2B5EF4-FFF2-40B4-BE49-F238E27FC236}">
                  <a16:creationId xmlns:a16="http://schemas.microsoft.com/office/drawing/2014/main" id="{2B6E29E7-C4DE-CD86-C65E-8A6B4CA5945D}"/>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 name="Rectángulo 15">
              <a:extLst>
                <a:ext uri="{FF2B5EF4-FFF2-40B4-BE49-F238E27FC236}">
                  <a16:creationId xmlns:a16="http://schemas.microsoft.com/office/drawing/2014/main" id="{ADD02571-D46A-A284-AF62-870E648EAEFD}"/>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Rectángulo 16">
              <a:extLst>
                <a:ext uri="{FF2B5EF4-FFF2-40B4-BE49-F238E27FC236}">
                  <a16:creationId xmlns:a16="http://schemas.microsoft.com/office/drawing/2014/main" id="{7178A23A-7EFD-334B-4A64-9EDE1C030F85}"/>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Rectángulo 17">
              <a:extLst>
                <a:ext uri="{FF2B5EF4-FFF2-40B4-BE49-F238E27FC236}">
                  <a16:creationId xmlns:a16="http://schemas.microsoft.com/office/drawing/2014/main" id="{115F7DCE-EC17-F1C1-00CD-6302A24E6DE6}"/>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31" name="Signo más 30">
            <a:extLst>
              <a:ext uri="{FF2B5EF4-FFF2-40B4-BE49-F238E27FC236}">
                <a16:creationId xmlns:a16="http://schemas.microsoft.com/office/drawing/2014/main" id="{A6ACED36-7D4F-2A6B-F1C2-74DD85D6A77B}"/>
              </a:ext>
            </a:extLst>
          </p:cNvPr>
          <p:cNvSpPr/>
          <p:nvPr userDrawn="1"/>
        </p:nvSpPr>
        <p:spPr>
          <a:xfrm>
            <a:off x="2413493" y="1620987"/>
            <a:ext cx="1275290" cy="2168053"/>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601632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54" r="64687"/>
          <a:stretch/>
        </p:blipFill>
        <p:spPr bwMode="auto">
          <a:xfrm>
            <a:off x="0"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o 18">
            <a:extLst>
              <a:ext uri="{FF2B5EF4-FFF2-40B4-BE49-F238E27FC236}">
                <a16:creationId xmlns:a16="http://schemas.microsoft.com/office/drawing/2014/main" id="{D8F7E0C4-6F34-CEAF-4E92-5C9FF2B85FE4}"/>
              </a:ext>
            </a:extLst>
          </p:cNvPr>
          <p:cNvGrpSpPr/>
          <p:nvPr userDrawn="1"/>
        </p:nvGrpSpPr>
        <p:grpSpPr>
          <a:xfrm>
            <a:off x="766621" y="2777377"/>
            <a:ext cx="1706102" cy="3944097"/>
            <a:chOff x="766621" y="2777377"/>
            <a:chExt cx="1706102" cy="3944097"/>
          </a:xfrm>
        </p:grpSpPr>
        <p:grpSp>
          <p:nvGrpSpPr>
            <p:cNvPr id="3" name="Grupo 2">
              <a:extLst>
                <a:ext uri="{FF2B5EF4-FFF2-40B4-BE49-F238E27FC236}">
                  <a16:creationId xmlns:a16="http://schemas.microsoft.com/office/drawing/2014/main" id="{C086098B-A04E-288F-3DF7-B1B4A6C239F5}"/>
                </a:ext>
              </a:extLst>
            </p:cNvPr>
            <p:cNvGrpSpPr/>
            <p:nvPr userDrawn="1"/>
          </p:nvGrpSpPr>
          <p:grpSpPr>
            <a:xfrm rot="5400000">
              <a:off x="-352377" y="3896375"/>
              <a:ext cx="3944097" cy="1706102"/>
              <a:chOff x="4431" y="1914322"/>
              <a:chExt cx="7303873" cy="1580939"/>
            </a:xfrm>
          </p:grpSpPr>
          <p:sp>
            <p:nvSpPr>
              <p:cNvPr id="4" name="Rectángulo 3">
                <a:extLst>
                  <a:ext uri="{FF2B5EF4-FFF2-40B4-BE49-F238E27FC236}">
                    <a16:creationId xmlns:a16="http://schemas.microsoft.com/office/drawing/2014/main" id="{07766206-D477-8AC7-70F2-C13ABF1E5112}"/>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Rectángulo 4">
                <a:extLst>
                  <a:ext uri="{FF2B5EF4-FFF2-40B4-BE49-F238E27FC236}">
                    <a16:creationId xmlns:a16="http://schemas.microsoft.com/office/drawing/2014/main" id="{52C32FDA-6B3D-DBB2-4887-496071AB5895}"/>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9EAFA88C-3AB2-43B9-9F59-3CDB892B76A0}"/>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ángulo 8">
                <a:extLst>
                  <a:ext uri="{FF2B5EF4-FFF2-40B4-BE49-F238E27FC236}">
                    <a16:creationId xmlns:a16="http://schemas.microsoft.com/office/drawing/2014/main" id="{A42C85B2-F93E-D691-DF3D-E82A17FEB43B}"/>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1" name="Rectángulo 10">
                <a:extLst>
                  <a:ext uri="{FF2B5EF4-FFF2-40B4-BE49-F238E27FC236}">
                    <a16:creationId xmlns:a16="http://schemas.microsoft.com/office/drawing/2014/main" id="{C71DFFE1-3D72-8AC0-3CC0-5E8C03E01757}"/>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Rectángulo 11">
                <a:extLst>
                  <a:ext uri="{FF2B5EF4-FFF2-40B4-BE49-F238E27FC236}">
                    <a16:creationId xmlns:a16="http://schemas.microsoft.com/office/drawing/2014/main" id="{F73A18E0-5C34-05CB-C94C-74D3D66427AD}"/>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Rectángulo 12">
                <a:extLst>
                  <a:ext uri="{FF2B5EF4-FFF2-40B4-BE49-F238E27FC236}">
                    <a16:creationId xmlns:a16="http://schemas.microsoft.com/office/drawing/2014/main" id="{6774603C-261B-C250-F2B2-8956C30B4866}"/>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18" name="Signo más 17">
              <a:extLst>
                <a:ext uri="{FF2B5EF4-FFF2-40B4-BE49-F238E27FC236}">
                  <a16:creationId xmlns:a16="http://schemas.microsoft.com/office/drawing/2014/main" id="{C27DB9A9-D86B-11A0-6726-05F810C91B5B}"/>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pic>
        <p:nvPicPr>
          <p:cNvPr id="2" name="Imagen 1" descr="Icono&#10;&#10;Descripción generada automáticamente">
            <a:extLst>
              <a:ext uri="{FF2B5EF4-FFF2-40B4-BE49-F238E27FC236}">
                <a16:creationId xmlns:a16="http://schemas.microsoft.com/office/drawing/2014/main" id="{6A123CA1-B906-63EB-FEB2-203CB4BE31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sp>
        <p:nvSpPr>
          <p:cNvPr id="10" name="9 CuadroTexto"/>
          <p:cNvSpPr txBox="1"/>
          <p:nvPr userDrawn="1"/>
        </p:nvSpPr>
        <p:spPr>
          <a:xfrm>
            <a:off x="1115616"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3518144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sp>
        <p:nvSpPr>
          <p:cNvPr id="10" name="9 CuadroTexto"/>
          <p:cNvSpPr txBox="1"/>
          <p:nvPr userDrawn="1"/>
        </p:nvSpPr>
        <p:spPr>
          <a:xfrm>
            <a:off x="1115616"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pic>
        <p:nvPicPr>
          <p:cNvPr id="2" name="Imagen 1" descr="Icono&#10;&#10;Descripción generada automáticamente">
            <a:extLst>
              <a:ext uri="{FF2B5EF4-FFF2-40B4-BE49-F238E27FC236}">
                <a16:creationId xmlns:a16="http://schemas.microsoft.com/office/drawing/2014/main" id="{494634EB-F607-589C-31DB-0D2D4A0AE9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3" name="Picture 2">
            <a:extLst>
              <a:ext uri="{FF2B5EF4-FFF2-40B4-BE49-F238E27FC236}">
                <a16:creationId xmlns:a16="http://schemas.microsoft.com/office/drawing/2014/main" id="{5BBB5D03-4C12-C98F-AC53-6763E53CF308}"/>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8166" t="-35" r="55982" b="35"/>
          <a:stretch/>
        </p:blipFill>
        <p:spPr bwMode="auto">
          <a:xfrm>
            <a:off x="-18059"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2ACB24AE-F929-EFB9-03AC-7CABFD78F832}"/>
              </a:ext>
            </a:extLst>
          </p:cNvPr>
          <p:cNvGrpSpPr/>
          <p:nvPr userDrawn="1"/>
        </p:nvGrpSpPr>
        <p:grpSpPr>
          <a:xfrm>
            <a:off x="766621" y="2777377"/>
            <a:ext cx="1706102" cy="3944097"/>
            <a:chOff x="766621" y="2777377"/>
            <a:chExt cx="1706102" cy="3944097"/>
          </a:xfrm>
        </p:grpSpPr>
        <p:grpSp>
          <p:nvGrpSpPr>
            <p:cNvPr id="19" name="Grupo 18">
              <a:extLst>
                <a:ext uri="{FF2B5EF4-FFF2-40B4-BE49-F238E27FC236}">
                  <a16:creationId xmlns:a16="http://schemas.microsoft.com/office/drawing/2014/main" id="{049D9C96-10D3-798D-2056-05AF7D46B810}"/>
                </a:ext>
              </a:extLst>
            </p:cNvPr>
            <p:cNvGrpSpPr/>
            <p:nvPr userDrawn="1"/>
          </p:nvGrpSpPr>
          <p:grpSpPr>
            <a:xfrm rot="5400000">
              <a:off x="-352377" y="3896375"/>
              <a:ext cx="3944097" cy="1706102"/>
              <a:chOff x="4431" y="1914322"/>
              <a:chExt cx="7303873" cy="1580939"/>
            </a:xfrm>
          </p:grpSpPr>
          <p:sp>
            <p:nvSpPr>
              <p:cNvPr id="21" name="Rectángulo 20">
                <a:extLst>
                  <a:ext uri="{FF2B5EF4-FFF2-40B4-BE49-F238E27FC236}">
                    <a16:creationId xmlns:a16="http://schemas.microsoft.com/office/drawing/2014/main" id="{E0F66362-5F10-4F2A-AB3A-1528C2B9D2F8}"/>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Rectángulo 21">
                <a:extLst>
                  <a:ext uri="{FF2B5EF4-FFF2-40B4-BE49-F238E27FC236}">
                    <a16:creationId xmlns:a16="http://schemas.microsoft.com/office/drawing/2014/main" id="{DF76516A-2037-8B07-4834-ADA1912A02FF}"/>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8610DCCF-9328-5886-9EB4-20C2AD60B658}"/>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622B2029-CBB6-6E0C-288D-9FE886075A83}"/>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8C379AA0-F2E2-4913-2D77-E7FD14DD989D}"/>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C3B259CC-C521-940D-D528-8BE7D8BF6E8C}"/>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990C6BCA-C22A-ECEA-A42D-3D6F43AFD650}"/>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0" name="Signo más 19">
              <a:extLst>
                <a:ext uri="{FF2B5EF4-FFF2-40B4-BE49-F238E27FC236}">
                  <a16:creationId xmlns:a16="http://schemas.microsoft.com/office/drawing/2014/main" id="{01858FA9-062A-738F-35F6-690A2BBF7979}"/>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17" name="9 CuadroTexto">
            <a:extLst>
              <a:ext uri="{FF2B5EF4-FFF2-40B4-BE49-F238E27FC236}">
                <a16:creationId xmlns:a16="http://schemas.microsoft.com/office/drawing/2014/main" id="{60374C73-4CD8-3A87-5232-1854201EF22D}"/>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2888495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sp>
        <p:nvSpPr>
          <p:cNvPr id="10" name="9 CuadroTexto"/>
          <p:cNvSpPr txBox="1"/>
          <p:nvPr userDrawn="1"/>
        </p:nvSpPr>
        <p:spPr>
          <a:xfrm>
            <a:off x="1115616"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pic>
        <p:nvPicPr>
          <p:cNvPr id="2" name="Imagen 1" descr="Icono&#10;&#10;Descripción generada automáticamente">
            <a:extLst>
              <a:ext uri="{FF2B5EF4-FFF2-40B4-BE49-F238E27FC236}">
                <a16:creationId xmlns:a16="http://schemas.microsoft.com/office/drawing/2014/main" id="{039577C8-7A85-E084-F953-0631FE64B6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3" name="Picture 2">
            <a:extLst>
              <a:ext uri="{FF2B5EF4-FFF2-40B4-BE49-F238E27FC236}">
                <a16:creationId xmlns:a16="http://schemas.microsoft.com/office/drawing/2014/main" id="{43B965A5-2791-8B60-5A3C-E67A94FA6FE7}"/>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5641" t="25126" r="40768"/>
          <a:stretch/>
        </p:blipFill>
        <p:spPr bwMode="auto">
          <a:xfrm>
            <a:off x="0" y="-27384"/>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91634433-1BE1-0183-ECF2-A2AD29138F9A}"/>
              </a:ext>
            </a:extLst>
          </p:cNvPr>
          <p:cNvGrpSpPr/>
          <p:nvPr userDrawn="1"/>
        </p:nvGrpSpPr>
        <p:grpSpPr>
          <a:xfrm>
            <a:off x="766621" y="2777377"/>
            <a:ext cx="1706102" cy="3944097"/>
            <a:chOff x="766621" y="2777377"/>
            <a:chExt cx="1706102" cy="3944097"/>
          </a:xfrm>
        </p:grpSpPr>
        <p:grpSp>
          <p:nvGrpSpPr>
            <p:cNvPr id="19" name="Grupo 18">
              <a:extLst>
                <a:ext uri="{FF2B5EF4-FFF2-40B4-BE49-F238E27FC236}">
                  <a16:creationId xmlns:a16="http://schemas.microsoft.com/office/drawing/2014/main" id="{C2254689-5DDF-2F13-9133-E9109C8DCC2F}"/>
                </a:ext>
              </a:extLst>
            </p:cNvPr>
            <p:cNvGrpSpPr/>
            <p:nvPr userDrawn="1"/>
          </p:nvGrpSpPr>
          <p:grpSpPr>
            <a:xfrm rot="5400000">
              <a:off x="-352377" y="3896375"/>
              <a:ext cx="3944097" cy="1706102"/>
              <a:chOff x="4431" y="1914322"/>
              <a:chExt cx="7303873" cy="1580939"/>
            </a:xfrm>
          </p:grpSpPr>
          <p:sp>
            <p:nvSpPr>
              <p:cNvPr id="21" name="Rectángulo 20">
                <a:extLst>
                  <a:ext uri="{FF2B5EF4-FFF2-40B4-BE49-F238E27FC236}">
                    <a16:creationId xmlns:a16="http://schemas.microsoft.com/office/drawing/2014/main" id="{5A821690-F50B-FF53-C873-8B275D285C5E}"/>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Rectángulo 21">
                <a:extLst>
                  <a:ext uri="{FF2B5EF4-FFF2-40B4-BE49-F238E27FC236}">
                    <a16:creationId xmlns:a16="http://schemas.microsoft.com/office/drawing/2014/main" id="{1E14C238-4CB7-CCB4-E2C0-6730C7951D75}"/>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324BA18B-985C-7368-E62B-CDACB4425B4B}"/>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60834790-2268-B55F-66E2-32FC348E042A}"/>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F5263865-FD9D-66F0-8C57-6134BE4FDB75}"/>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16536235-662E-907C-6E6C-577D608BFA4C}"/>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9D9F7437-CDF7-C5B2-6885-24094464724A}"/>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0" name="Signo más 19">
              <a:extLst>
                <a:ext uri="{FF2B5EF4-FFF2-40B4-BE49-F238E27FC236}">
                  <a16:creationId xmlns:a16="http://schemas.microsoft.com/office/drawing/2014/main" id="{576F677B-A330-176E-6EB8-0BB8529FD3EB}"/>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8" name="9 CuadroTexto">
            <a:extLst>
              <a:ext uri="{FF2B5EF4-FFF2-40B4-BE49-F238E27FC236}">
                <a16:creationId xmlns:a16="http://schemas.microsoft.com/office/drawing/2014/main" id="{424952B0-5EBE-AA6B-D442-7A5DE358DC59}"/>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1299925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pic>
        <p:nvPicPr>
          <p:cNvPr id="2" name="Imagen 1" descr="Icono&#10;&#10;Descripción generada automáticamente">
            <a:extLst>
              <a:ext uri="{FF2B5EF4-FFF2-40B4-BE49-F238E27FC236}">
                <a16:creationId xmlns:a16="http://schemas.microsoft.com/office/drawing/2014/main" id="{265E2C13-1A2A-AD5F-A64A-E2B644B09C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3" name="Picture 2">
            <a:extLst>
              <a:ext uri="{FF2B5EF4-FFF2-40B4-BE49-F238E27FC236}">
                <a16:creationId xmlns:a16="http://schemas.microsoft.com/office/drawing/2014/main" id="{423958D0-4E10-17BF-99F5-72011BB5B610}"/>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4006" t="11569" r="53130" b="-11"/>
          <a:stretch/>
        </p:blipFill>
        <p:spPr bwMode="auto">
          <a:xfrm>
            <a:off x="-36512"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EF06AFE3-1C5F-DF98-71AC-90D6DE38D58A}"/>
              </a:ext>
            </a:extLst>
          </p:cNvPr>
          <p:cNvGrpSpPr/>
          <p:nvPr userDrawn="1"/>
        </p:nvGrpSpPr>
        <p:grpSpPr>
          <a:xfrm>
            <a:off x="766621" y="2777377"/>
            <a:ext cx="1706102" cy="3944097"/>
            <a:chOff x="766621" y="2777377"/>
            <a:chExt cx="1706102" cy="3944097"/>
          </a:xfrm>
        </p:grpSpPr>
        <p:grpSp>
          <p:nvGrpSpPr>
            <p:cNvPr id="19" name="Grupo 18">
              <a:extLst>
                <a:ext uri="{FF2B5EF4-FFF2-40B4-BE49-F238E27FC236}">
                  <a16:creationId xmlns:a16="http://schemas.microsoft.com/office/drawing/2014/main" id="{D1460B1F-06BB-0976-55DD-857EE46AA707}"/>
                </a:ext>
              </a:extLst>
            </p:cNvPr>
            <p:cNvGrpSpPr/>
            <p:nvPr userDrawn="1"/>
          </p:nvGrpSpPr>
          <p:grpSpPr>
            <a:xfrm rot="5400000">
              <a:off x="-352377" y="3896375"/>
              <a:ext cx="3944097" cy="1706102"/>
              <a:chOff x="4431" y="1914322"/>
              <a:chExt cx="7303873" cy="1580939"/>
            </a:xfrm>
          </p:grpSpPr>
          <p:sp>
            <p:nvSpPr>
              <p:cNvPr id="21" name="Rectángulo 20">
                <a:extLst>
                  <a:ext uri="{FF2B5EF4-FFF2-40B4-BE49-F238E27FC236}">
                    <a16:creationId xmlns:a16="http://schemas.microsoft.com/office/drawing/2014/main" id="{CC7B53C9-A885-0DF0-2EFF-12C45CBF3AE7}"/>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Rectángulo 21">
                <a:extLst>
                  <a:ext uri="{FF2B5EF4-FFF2-40B4-BE49-F238E27FC236}">
                    <a16:creationId xmlns:a16="http://schemas.microsoft.com/office/drawing/2014/main" id="{6280369B-8721-3A1A-E1B2-4B76732CF0EE}"/>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F1F828EC-B2EA-A264-E7EC-889562F9757E}"/>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1780BE48-342E-C3E1-52E8-34941935ABE1}"/>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A2D68615-56E0-0039-D4D6-0578A6D18570}"/>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FF1FA7A1-B28E-0C32-CCE2-CF3F6E314343}"/>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CA504571-D580-10BB-CF03-1F24AE22B6FB}"/>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0" name="Signo más 19">
              <a:extLst>
                <a:ext uri="{FF2B5EF4-FFF2-40B4-BE49-F238E27FC236}">
                  <a16:creationId xmlns:a16="http://schemas.microsoft.com/office/drawing/2014/main" id="{26EDDF5C-13EF-F367-F05F-1C5150BD6F5B}"/>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8" name="9 CuadroTexto">
            <a:extLst>
              <a:ext uri="{FF2B5EF4-FFF2-40B4-BE49-F238E27FC236}">
                <a16:creationId xmlns:a16="http://schemas.microsoft.com/office/drawing/2014/main" id="{692EED56-B7D9-331F-F773-D8009587C619}"/>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2132148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pic>
        <p:nvPicPr>
          <p:cNvPr id="2" name="Imagen 1" descr="Icono&#10;&#10;Descripción generada automáticamente">
            <a:extLst>
              <a:ext uri="{FF2B5EF4-FFF2-40B4-BE49-F238E27FC236}">
                <a16:creationId xmlns:a16="http://schemas.microsoft.com/office/drawing/2014/main" id="{ABEEBE24-454B-E565-DF8B-AF4133C595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3" name="Picture 2">
            <a:extLst>
              <a:ext uri="{FF2B5EF4-FFF2-40B4-BE49-F238E27FC236}">
                <a16:creationId xmlns:a16="http://schemas.microsoft.com/office/drawing/2014/main" id="{2E46F550-ACB2-2128-A2CD-E84BF5FE1C70}"/>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42801" t="178" r="31329" b="-178"/>
          <a:stretch/>
        </p:blipFill>
        <p:spPr bwMode="auto">
          <a:xfrm flipH="1">
            <a:off x="-18059"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95567FF8-A8BA-7559-EE5C-60182EEB4082}"/>
              </a:ext>
            </a:extLst>
          </p:cNvPr>
          <p:cNvGrpSpPr/>
          <p:nvPr userDrawn="1"/>
        </p:nvGrpSpPr>
        <p:grpSpPr>
          <a:xfrm>
            <a:off x="766621" y="2777377"/>
            <a:ext cx="1706102" cy="3944097"/>
            <a:chOff x="766621" y="2777377"/>
            <a:chExt cx="1706102" cy="3944097"/>
          </a:xfrm>
        </p:grpSpPr>
        <p:grpSp>
          <p:nvGrpSpPr>
            <p:cNvPr id="19" name="Grupo 18">
              <a:extLst>
                <a:ext uri="{FF2B5EF4-FFF2-40B4-BE49-F238E27FC236}">
                  <a16:creationId xmlns:a16="http://schemas.microsoft.com/office/drawing/2014/main" id="{85947B35-51EA-FB9F-65EE-D105042978B9}"/>
                </a:ext>
              </a:extLst>
            </p:cNvPr>
            <p:cNvGrpSpPr/>
            <p:nvPr userDrawn="1"/>
          </p:nvGrpSpPr>
          <p:grpSpPr>
            <a:xfrm rot="5400000">
              <a:off x="-352377" y="3896375"/>
              <a:ext cx="3944097" cy="1706102"/>
              <a:chOff x="4431" y="1914322"/>
              <a:chExt cx="7303873" cy="1580939"/>
            </a:xfrm>
          </p:grpSpPr>
          <p:sp>
            <p:nvSpPr>
              <p:cNvPr id="21" name="Rectángulo 20">
                <a:extLst>
                  <a:ext uri="{FF2B5EF4-FFF2-40B4-BE49-F238E27FC236}">
                    <a16:creationId xmlns:a16="http://schemas.microsoft.com/office/drawing/2014/main" id="{63C8D577-BECC-8AEF-12FB-6C01DE01D695}"/>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Rectángulo 21">
                <a:extLst>
                  <a:ext uri="{FF2B5EF4-FFF2-40B4-BE49-F238E27FC236}">
                    <a16:creationId xmlns:a16="http://schemas.microsoft.com/office/drawing/2014/main" id="{1D248218-DE9B-1C55-498E-90B4B62B8F96}"/>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Rectángulo 22">
                <a:extLst>
                  <a:ext uri="{FF2B5EF4-FFF2-40B4-BE49-F238E27FC236}">
                    <a16:creationId xmlns:a16="http://schemas.microsoft.com/office/drawing/2014/main" id="{E2D7C00E-C0F3-F553-0F2E-484534AF1D62}"/>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BB09FE95-C85F-6844-FB3C-70A764898C0B}"/>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BF709BEB-AD9A-6669-07DB-1DB208926DF7}"/>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98C3008E-EEEE-59BC-577B-D51E5C66A0CC}"/>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A6978FB0-B7BA-CD59-95CA-C68AA1EC3656}"/>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0" name="Signo más 19">
              <a:extLst>
                <a:ext uri="{FF2B5EF4-FFF2-40B4-BE49-F238E27FC236}">
                  <a16:creationId xmlns:a16="http://schemas.microsoft.com/office/drawing/2014/main" id="{37B33538-D0DB-6702-171F-9E7261F40B7F}"/>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8" name="9 CuadroTexto">
            <a:extLst>
              <a:ext uri="{FF2B5EF4-FFF2-40B4-BE49-F238E27FC236}">
                <a16:creationId xmlns:a16="http://schemas.microsoft.com/office/drawing/2014/main" id="{73988401-3FF2-5ADE-3CAB-94F3B3808651}"/>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3106928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sp>
        <p:nvSpPr>
          <p:cNvPr id="6" name="5 Marcador de número de diapositiva"/>
          <p:cNvSpPr>
            <a:spLocks noGrp="1"/>
          </p:cNvSpPr>
          <p:nvPr>
            <p:ph type="sldNum" sz="quarter" idx="12"/>
          </p:nvPr>
        </p:nvSpPr>
        <p:spPr/>
        <p:txBody>
          <a:bodyPr/>
          <a:lstStyle/>
          <a:p>
            <a:fld id="{ACFAEEE9-AD6A-4121-B8FF-B12D6A452F01}" type="slidenum">
              <a:rPr lang="es-ES" smtClean="0"/>
              <a:t>‹Nº›</a:t>
            </a:fld>
            <a:endParaRPr lang="es-ES"/>
          </a:p>
        </p:txBody>
      </p:sp>
      <p:sp>
        <p:nvSpPr>
          <p:cNvPr id="8" name="2 Marcador de contenido"/>
          <p:cNvSpPr>
            <a:spLocks noGrp="1"/>
          </p:cNvSpPr>
          <p:nvPr>
            <p:ph idx="1"/>
          </p:nvPr>
        </p:nvSpPr>
        <p:spPr>
          <a:xfrm>
            <a:off x="2987823" y="4365104"/>
            <a:ext cx="5616624" cy="1800200"/>
          </a:xfrm>
        </p:spPr>
        <p:txBody>
          <a:bodyPr>
            <a:normAutofit/>
          </a:bodyPr>
          <a:lstStyle>
            <a:lvl1pPr marL="273050" marR="0" indent="-273050" algn="l" defTabSz="914400" rtl="0" eaLnBrk="1" fontAlgn="auto" latinLnBrk="0" hangingPunct="1">
              <a:lnSpc>
                <a:spcPct val="100000"/>
              </a:lnSpc>
              <a:spcBef>
                <a:spcPct val="20000"/>
              </a:spcBef>
              <a:spcAft>
                <a:spcPts val="0"/>
              </a:spcAft>
              <a:buClr>
                <a:srgbClr val="9AAE04"/>
              </a:buClr>
              <a:buSzTx/>
              <a:buFont typeface="+mj-lt"/>
              <a:buAutoNum type="arabicPeriod"/>
              <a:tabLst/>
              <a:defRPr sz="1800" b="1">
                <a:solidFill>
                  <a:schemeClr val="tx1">
                    <a:lumMod val="50000"/>
                    <a:lumOff val="50000"/>
                  </a:schemeClr>
                </a:solidFill>
                <a:latin typeface="Arial" pitchFamily="34" charset="0"/>
                <a:cs typeface="Arial" pitchFamily="34" charset="0"/>
              </a:defRPr>
            </a:lvl1pPr>
            <a:lvl2pPr marL="531813" indent="-176213">
              <a:buFont typeface="Arial" pitchFamily="34" charset="0"/>
              <a:buChar char="•"/>
              <a:defRPr sz="1600" baseline="0">
                <a:solidFill>
                  <a:schemeClr val="tx1">
                    <a:lumMod val="50000"/>
                    <a:lumOff val="50000"/>
                  </a:schemeClr>
                </a:solidFill>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9pPr marL="3657600" indent="0">
              <a:buNone/>
              <a:defRPr/>
            </a:lvl9pPr>
          </a:lstStyle>
          <a:p>
            <a:pPr marL="0" lvl="0" indent="0">
              <a:buNone/>
            </a:pPr>
            <a:r>
              <a:rPr lang="es-ES" dirty="0">
                <a:solidFill>
                  <a:schemeClr val="bg2"/>
                </a:solidFill>
              </a:rPr>
              <a:t>2. capítulo (arial </a:t>
            </a:r>
            <a:r>
              <a:rPr lang="es-ES" dirty="0" err="1">
                <a:solidFill>
                  <a:schemeClr val="bg2"/>
                </a:solidFill>
              </a:rPr>
              <a:t>bold</a:t>
            </a:r>
            <a:r>
              <a:rPr lang="es-ES" dirty="0">
                <a:solidFill>
                  <a:schemeClr val="bg2"/>
                </a:solidFill>
              </a:rPr>
              <a:t> 18, minúscula, gris oscuro)</a:t>
            </a:r>
          </a:p>
          <a:p>
            <a:pPr lvl="1"/>
            <a:r>
              <a:rPr lang="es-ES" dirty="0">
                <a:solidFill>
                  <a:schemeClr val="bg2"/>
                </a:solidFill>
              </a:rPr>
              <a:t>subcapítulo (arial regular 16, minúscula, gris oscuro)</a:t>
            </a:r>
          </a:p>
          <a:p>
            <a:pPr lvl="1"/>
            <a:r>
              <a:rPr lang="es-ES" dirty="0">
                <a:solidFill>
                  <a:schemeClr val="bg2"/>
                </a:solidFill>
              </a:rPr>
              <a:t>subcapítulo (arial regular 16, minúscula, gris oscuro)</a:t>
            </a:r>
          </a:p>
          <a:p>
            <a:pPr marL="0" lvl="0" indent="0">
              <a:buNone/>
            </a:pPr>
            <a:r>
              <a:rPr lang="es-ES" dirty="0">
                <a:solidFill>
                  <a:schemeClr val="bg2"/>
                </a:solidFill>
              </a:rPr>
              <a:t>3. capítulo (arial </a:t>
            </a:r>
            <a:r>
              <a:rPr lang="es-ES" dirty="0" err="1">
                <a:solidFill>
                  <a:schemeClr val="bg2"/>
                </a:solidFill>
              </a:rPr>
              <a:t>bold</a:t>
            </a:r>
            <a:r>
              <a:rPr lang="es-ES" dirty="0">
                <a:solidFill>
                  <a:schemeClr val="bg2"/>
                </a:solidFill>
              </a:rPr>
              <a:t> 18, minúscula, gris oscuro)</a:t>
            </a:r>
          </a:p>
          <a:p>
            <a:pPr marL="0" lvl="0" indent="0">
              <a:buNone/>
            </a:pPr>
            <a:r>
              <a:rPr lang="es-ES" dirty="0">
                <a:solidFill>
                  <a:schemeClr val="bg2"/>
                </a:solidFill>
              </a:rPr>
              <a:t>4. capítulo (arial </a:t>
            </a:r>
            <a:r>
              <a:rPr lang="es-ES" dirty="0" err="1">
                <a:solidFill>
                  <a:schemeClr val="bg2"/>
                </a:solidFill>
              </a:rPr>
              <a:t>bold</a:t>
            </a:r>
            <a:r>
              <a:rPr lang="es-ES" dirty="0">
                <a:solidFill>
                  <a:schemeClr val="bg2"/>
                </a:solidFill>
              </a:rPr>
              <a:t> 18, minúscula, gris oscuro)</a:t>
            </a:r>
          </a:p>
        </p:txBody>
      </p:sp>
      <p:pic>
        <p:nvPicPr>
          <p:cNvPr id="2" name="Imagen 1" descr="Icono&#10;&#10;Descripción generada automáticamente">
            <a:extLst>
              <a:ext uri="{FF2B5EF4-FFF2-40B4-BE49-F238E27FC236}">
                <a16:creationId xmlns:a16="http://schemas.microsoft.com/office/drawing/2014/main" id="{0885DFEC-D39E-58A4-0567-9C921C8EFA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3813" y="476672"/>
            <a:ext cx="2448485" cy="365125"/>
          </a:xfrm>
          <a:prstGeom prst="rect">
            <a:avLst/>
          </a:prstGeom>
        </p:spPr>
      </p:pic>
      <p:pic>
        <p:nvPicPr>
          <p:cNvPr id="5" name="Picture 2">
            <a:extLst>
              <a:ext uri="{FF2B5EF4-FFF2-40B4-BE49-F238E27FC236}">
                <a16:creationId xmlns:a16="http://schemas.microsoft.com/office/drawing/2014/main" id="{C051D7FC-AEDD-A45A-19F6-7B54456C876F}"/>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55767" r="18359"/>
          <a:stretch/>
        </p:blipFill>
        <p:spPr bwMode="auto">
          <a:xfrm flipH="1">
            <a:off x="-18059" y="0"/>
            <a:ext cx="26601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D5CB6CD1-4BE2-0D9B-DC38-CA8673F88AB4}"/>
              </a:ext>
            </a:extLst>
          </p:cNvPr>
          <p:cNvGrpSpPr/>
          <p:nvPr userDrawn="1"/>
        </p:nvGrpSpPr>
        <p:grpSpPr>
          <a:xfrm>
            <a:off x="766621" y="2777377"/>
            <a:ext cx="1706102" cy="3944097"/>
            <a:chOff x="766621" y="2777377"/>
            <a:chExt cx="1706102" cy="3944097"/>
          </a:xfrm>
        </p:grpSpPr>
        <p:grpSp>
          <p:nvGrpSpPr>
            <p:cNvPr id="21" name="Grupo 20">
              <a:extLst>
                <a:ext uri="{FF2B5EF4-FFF2-40B4-BE49-F238E27FC236}">
                  <a16:creationId xmlns:a16="http://schemas.microsoft.com/office/drawing/2014/main" id="{8D2F67A4-7627-E338-490D-EC31B95B1241}"/>
                </a:ext>
              </a:extLst>
            </p:cNvPr>
            <p:cNvGrpSpPr/>
            <p:nvPr userDrawn="1"/>
          </p:nvGrpSpPr>
          <p:grpSpPr>
            <a:xfrm rot="5400000">
              <a:off x="-352377" y="3896375"/>
              <a:ext cx="3944097" cy="1706102"/>
              <a:chOff x="4431" y="1914322"/>
              <a:chExt cx="7303873" cy="1580939"/>
            </a:xfrm>
          </p:grpSpPr>
          <p:sp>
            <p:nvSpPr>
              <p:cNvPr id="23" name="Rectángulo 22">
                <a:extLst>
                  <a:ext uri="{FF2B5EF4-FFF2-40B4-BE49-F238E27FC236}">
                    <a16:creationId xmlns:a16="http://schemas.microsoft.com/office/drawing/2014/main" id="{FC0F2393-F2E8-F9AC-6985-1C1DA06B4968}"/>
                  </a:ext>
                </a:extLst>
              </p:cNvPr>
              <p:cNvSpPr/>
              <p:nvPr userDrawn="1"/>
            </p:nvSpPr>
            <p:spPr>
              <a:xfrm>
                <a:off x="4431" y="2132856"/>
                <a:ext cx="3072791"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4" name="Rectángulo 23">
                <a:extLst>
                  <a:ext uri="{FF2B5EF4-FFF2-40B4-BE49-F238E27FC236}">
                    <a16:creationId xmlns:a16="http://schemas.microsoft.com/office/drawing/2014/main" id="{9E22AE38-CD5C-AACE-1C6F-9A109C4A374B}"/>
                  </a:ext>
                </a:extLst>
              </p:cNvPr>
              <p:cNvSpPr/>
              <p:nvPr userDrawn="1"/>
            </p:nvSpPr>
            <p:spPr>
              <a:xfrm>
                <a:off x="615992" y="2775181"/>
                <a:ext cx="2443840"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5" name="Rectángulo 24">
                <a:extLst>
                  <a:ext uri="{FF2B5EF4-FFF2-40B4-BE49-F238E27FC236}">
                    <a16:creationId xmlns:a16="http://schemas.microsoft.com/office/drawing/2014/main" id="{8CD1A24A-4AD5-A4BE-43AA-64DFAA3DE5C7}"/>
                  </a:ext>
                </a:extLst>
              </p:cNvPr>
              <p:cNvSpPr/>
              <p:nvPr userDrawn="1"/>
            </p:nvSpPr>
            <p:spPr>
              <a:xfrm>
                <a:off x="3059833" y="1914322"/>
                <a:ext cx="2376264"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6" name="Rectángulo 25">
                <a:extLst>
                  <a:ext uri="{FF2B5EF4-FFF2-40B4-BE49-F238E27FC236}">
                    <a16:creationId xmlns:a16="http://schemas.microsoft.com/office/drawing/2014/main" id="{82B9E621-07A0-0B98-748F-C143015859F1}"/>
                  </a:ext>
                </a:extLst>
              </p:cNvPr>
              <p:cNvSpPr/>
              <p:nvPr userDrawn="1"/>
            </p:nvSpPr>
            <p:spPr>
              <a:xfrm>
                <a:off x="3077222" y="2767116"/>
                <a:ext cx="2358875"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7" name="Rectángulo 26">
                <a:extLst>
                  <a:ext uri="{FF2B5EF4-FFF2-40B4-BE49-F238E27FC236}">
                    <a16:creationId xmlns:a16="http://schemas.microsoft.com/office/drawing/2014/main" id="{C47914ED-E664-6064-6AB9-7F8F65E4CF31}"/>
                  </a:ext>
                </a:extLst>
              </p:cNvPr>
              <p:cNvSpPr/>
              <p:nvPr userDrawn="1"/>
            </p:nvSpPr>
            <p:spPr>
              <a:xfrm>
                <a:off x="3059832" y="2698152"/>
                <a:ext cx="4248472"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8" name="Rectángulo 27">
                <a:extLst>
                  <a:ext uri="{FF2B5EF4-FFF2-40B4-BE49-F238E27FC236}">
                    <a16:creationId xmlns:a16="http://schemas.microsoft.com/office/drawing/2014/main" id="{45ECA11C-2BFE-CBCD-3B0D-BC4D3FB12CF7}"/>
                  </a:ext>
                </a:extLst>
              </p:cNvPr>
              <p:cNvSpPr/>
              <p:nvPr userDrawn="1"/>
            </p:nvSpPr>
            <p:spPr>
              <a:xfrm>
                <a:off x="968752" y="2314303"/>
                <a:ext cx="2091080" cy="429003"/>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9" name="Rectángulo 28">
                <a:extLst>
                  <a:ext uri="{FF2B5EF4-FFF2-40B4-BE49-F238E27FC236}">
                    <a16:creationId xmlns:a16="http://schemas.microsoft.com/office/drawing/2014/main" id="{DEA6DA4B-7120-3B3B-9895-97069B53B57C}"/>
                  </a:ext>
                </a:extLst>
              </p:cNvPr>
              <p:cNvSpPr/>
              <p:nvPr userDrawn="1"/>
            </p:nvSpPr>
            <p:spPr>
              <a:xfrm>
                <a:off x="3059832" y="2146188"/>
                <a:ext cx="2952382" cy="720080"/>
              </a:xfrm>
              <a:prstGeom prst="rect">
                <a:avLst/>
              </a:prstGeom>
              <a:solidFill>
                <a:srgbClr val="00206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22" name="Signo más 21">
              <a:extLst>
                <a:ext uri="{FF2B5EF4-FFF2-40B4-BE49-F238E27FC236}">
                  <a16:creationId xmlns:a16="http://schemas.microsoft.com/office/drawing/2014/main" id="{B70FF65E-9D7A-7161-A332-9CFC5E232030}"/>
                </a:ext>
              </a:extLst>
            </p:cNvPr>
            <p:cNvSpPr/>
            <p:nvPr userDrawn="1"/>
          </p:nvSpPr>
          <p:spPr>
            <a:xfrm>
              <a:off x="1130040" y="3887253"/>
              <a:ext cx="771951" cy="1045539"/>
            </a:xfrm>
            <a:prstGeom prst="mathPlus">
              <a:avLst>
                <a:gd name="adj1" fmla="val 0"/>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sp>
        <p:nvSpPr>
          <p:cNvPr id="30" name="9 CuadroTexto">
            <a:extLst>
              <a:ext uri="{FF2B5EF4-FFF2-40B4-BE49-F238E27FC236}">
                <a16:creationId xmlns:a16="http://schemas.microsoft.com/office/drawing/2014/main" id="{0A0B63FD-5777-F1A3-C278-9B9556D071EC}"/>
              </a:ext>
            </a:extLst>
          </p:cNvPr>
          <p:cNvSpPr txBox="1"/>
          <p:nvPr userDrawn="1"/>
        </p:nvSpPr>
        <p:spPr>
          <a:xfrm>
            <a:off x="1097557" y="3356992"/>
            <a:ext cx="1008112" cy="369332"/>
          </a:xfrm>
          <a:prstGeom prst="rect">
            <a:avLst/>
          </a:prstGeom>
          <a:noFill/>
        </p:spPr>
        <p:txBody>
          <a:bodyPr wrap="square" rtlCol="0">
            <a:spAutoFit/>
          </a:bodyPr>
          <a:lstStyle/>
          <a:p>
            <a:r>
              <a:rPr lang="es-ES" b="1" dirty="0">
                <a:solidFill>
                  <a:schemeClr val="bg1"/>
                </a:solidFill>
                <a:latin typeface="Arial" pitchFamily="34" charset="0"/>
                <a:cs typeface="Arial" pitchFamily="34" charset="0"/>
              </a:rPr>
              <a:t>ÍNDICE</a:t>
            </a:r>
          </a:p>
        </p:txBody>
      </p:sp>
    </p:spTree>
    <p:extLst>
      <p:ext uri="{BB962C8B-B14F-4D97-AF65-F5344CB8AC3E}">
        <p14:creationId xmlns:p14="http://schemas.microsoft.com/office/powerpoint/2010/main" val="2809488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555DEA-4530-4101-B362-785BA849EADE}" type="datetimeFigureOut">
              <a:rPr lang="es-ES" smtClean="0"/>
              <a:t>07/09/2022</a:t>
            </a:fld>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0061AB-E3E3-4B82-98B1-945D99ABF5FB}" type="slidenum">
              <a:rPr lang="es-ES" smtClean="0"/>
              <a:t>‹Nº›</a:t>
            </a:fld>
            <a:endParaRPr lang="es-ES"/>
          </a:p>
        </p:txBody>
      </p:sp>
    </p:spTree>
    <p:extLst>
      <p:ext uri="{BB962C8B-B14F-4D97-AF65-F5344CB8AC3E}">
        <p14:creationId xmlns:p14="http://schemas.microsoft.com/office/powerpoint/2010/main" val="3299921331"/>
      </p:ext>
    </p:extLst>
  </p:cSld>
  <p:clrMap bg1="lt1" tx1="dk1" bg2="lt2" tx2="dk2" accent1="accent1" accent2="accent2" accent3="accent3" accent4="accent4" accent5="accent5" accent6="accent6" hlink="hlink" folHlink="folHlink"/>
  <p:sldLayoutIdLst>
    <p:sldLayoutId id="2147483674" r:id="rId1"/>
    <p:sldLayoutId id="2147483662" r:id="rId2"/>
    <p:sldLayoutId id="2147483671" r:id="rId3"/>
    <p:sldLayoutId id="2147483661" r:id="rId4"/>
    <p:sldLayoutId id="2147483664" r:id="rId5"/>
    <p:sldLayoutId id="2147483665" r:id="rId6"/>
    <p:sldLayoutId id="2147483666" r:id="rId7"/>
    <p:sldLayoutId id="2147483667" r:id="rId8"/>
    <p:sldLayoutId id="2147483668" r:id="rId9"/>
    <p:sldLayoutId id="2147483670" r:id="rId10"/>
    <p:sldLayoutId id="2147483651" r:id="rId11"/>
    <p:sldLayoutId id="2147483653" r:id="rId12"/>
    <p:sldLayoutId id="2147483649" r:id="rId13"/>
    <p:sldLayoutId id="2147483672" r:id="rId14"/>
    <p:sldLayoutId id="2147483673" r:id="rId15"/>
  </p:sldLayoutIdLst>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es.wikipedia.org/wiki/Refactorizaci%C3%B3n" TargetMode="External"/><Relationship Id="rId2" Type="http://schemas.openxmlformats.org/officeDocument/2006/relationships/hyperlink" Target="https://es.wikipedia.org/wiki/Ingenier%C3%ADa_de_software" TargetMode="External"/><Relationship Id="rId1" Type="http://schemas.openxmlformats.org/officeDocument/2006/relationships/slideLayout" Target="../slideLayouts/slideLayout12.xml"/><Relationship Id="rId6" Type="http://schemas.openxmlformats.org/officeDocument/2006/relationships/image" Target="../media/image26.png"/><Relationship Id="rId5" Type="http://schemas.openxmlformats.org/officeDocument/2006/relationships/hyperlink" Target="https://es.wikipedia.org/wiki/Desarrollo_guiado_por_pruebas" TargetMode="External"/><Relationship Id="rId4" Type="http://schemas.openxmlformats.org/officeDocument/2006/relationships/hyperlink" Target="https://es.wikipedia.org/wiki/Prueba_unitaria"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5" Type="http://schemas.openxmlformats.org/officeDocument/2006/relationships/image" Target="../media/image16.jp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251520" y="3356992"/>
            <a:ext cx="7200800" cy="1728192"/>
          </a:xfrm>
        </p:spPr>
        <p:txBody>
          <a:bodyPr/>
          <a:lstStyle/>
          <a:p>
            <a:r>
              <a:rPr lang="es-CL" sz="4800" dirty="0"/>
              <a:t>TESTING UNITARIO</a:t>
            </a:r>
          </a:p>
        </p:txBody>
      </p:sp>
      <p:sp>
        <p:nvSpPr>
          <p:cNvPr id="2" name="Marcador de contenido 1"/>
          <p:cNvSpPr>
            <a:spLocks noGrp="1"/>
          </p:cNvSpPr>
          <p:nvPr>
            <p:ph type="subTitle" idx="1"/>
          </p:nvPr>
        </p:nvSpPr>
        <p:spPr/>
        <p:txBody>
          <a:bodyPr/>
          <a:lstStyle/>
          <a:p>
            <a:r>
              <a:rPr lang="pt-BR" dirty="0"/>
              <a:t>Utilizando Angular – Conceptos Básicos</a:t>
            </a:r>
            <a:endParaRPr lang="es-CL" dirty="0"/>
          </a:p>
        </p:txBody>
      </p:sp>
    </p:spTree>
    <p:extLst>
      <p:ext uri="{BB962C8B-B14F-4D97-AF65-F5344CB8AC3E}">
        <p14:creationId xmlns:p14="http://schemas.microsoft.com/office/powerpoint/2010/main" val="386812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CL" dirty="0" err="1"/>
              <a:t>Arrange-Act-Assert</a:t>
            </a:r>
            <a:endParaRPr lang="es-CL" dirty="0"/>
          </a:p>
        </p:txBody>
      </p:sp>
      <p:sp>
        <p:nvSpPr>
          <p:cNvPr id="3" name="Marcador de texto 2"/>
          <p:cNvSpPr>
            <a:spLocks noGrp="1"/>
          </p:cNvSpPr>
          <p:nvPr>
            <p:ph type="body" idx="1"/>
          </p:nvPr>
        </p:nvSpPr>
        <p:spPr/>
        <p:txBody>
          <a:bodyPr/>
          <a:lstStyle/>
          <a:p>
            <a:r>
              <a:rPr lang="es-CL" dirty="0"/>
              <a:t>Definición</a:t>
            </a:r>
          </a:p>
        </p:txBody>
      </p:sp>
      <p:sp>
        <p:nvSpPr>
          <p:cNvPr id="4" name="Marcador de contenido 3"/>
          <p:cNvSpPr>
            <a:spLocks noGrp="1"/>
          </p:cNvSpPr>
          <p:nvPr>
            <p:ph sz="half" idx="2"/>
          </p:nvPr>
        </p:nvSpPr>
        <p:spPr/>
        <p:txBody>
          <a:bodyPr>
            <a:normAutofit/>
          </a:bodyPr>
          <a:lstStyle/>
          <a:p>
            <a:r>
              <a:rPr lang="es-CL" sz="1600" dirty="0"/>
              <a:t>Es una modelo de organizar las pruebas unitarias, el cual se ha convertido en casi un estándar. Este modelo sugiere dividir el código de prueba en </a:t>
            </a:r>
            <a:r>
              <a:rPr lang="es-CL" sz="1600" b="1" dirty="0"/>
              <a:t>tres secciones: </a:t>
            </a:r>
            <a:r>
              <a:rPr lang="es-CL" sz="1600" b="1" dirty="0" err="1"/>
              <a:t>Arrange</a:t>
            </a:r>
            <a:r>
              <a:rPr lang="es-CL" sz="1600" b="1" dirty="0"/>
              <a:t> (organizar), </a:t>
            </a:r>
            <a:r>
              <a:rPr lang="es-CL" sz="1600" b="1" dirty="0" err="1"/>
              <a:t>Act</a:t>
            </a:r>
            <a:r>
              <a:rPr lang="es-CL" sz="1600" b="1" dirty="0"/>
              <a:t> (actuar), </a:t>
            </a:r>
            <a:r>
              <a:rPr lang="es-CL" sz="1600" b="1" dirty="0" err="1"/>
              <a:t>Assert</a:t>
            </a:r>
            <a:r>
              <a:rPr lang="es-CL" sz="1600" b="1" dirty="0"/>
              <a:t> (afirmar). </a:t>
            </a:r>
            <a:r>
              <a:rPr lang="es-CL" sz="1600" dirty="0"/>
              <a:t>Cada sección se debe responsabilizar de lo relacionado a su nombre.</a:t>
            </a:r>
            <a:endParaRPr lang="es-CL" sz="1600" b="1" dirty="0"/>
          </a:p>
          <a:p>
            <a:endParaRPr lang="es-CL" sz="1600" dirty="0"/>
          </a:p>
          <a:p>
            <a:r>
              <a:rPr lang="es-CL" sz="1600" dirty="0"/>
              <a:t>Principalmente se organiza el código, dejando una línea de espacio en blanco entre una sección y la siguiente.</a:t>
            </a:r>
          </a:p>
        </p:txBody>
      </p:sp>
    </p:spTree>
    <p:extLst>
      <p:ext uri="{BB962C8B-B14F-4D97-AF65-F5344CB8AC3E}">
        <p14:creationId xmlns:p14="http://schemas.microsoft.com/office/powerpoint/2010/main" val="4137562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CL" dirty="0" err="1"/>
              <a:t>Arrange-Act-Assert</a:t>
            </a:r>
            <a:endParaRPr lang="es-CL" dirty="0"/>
          </a:p>
        </p:txBody>
      </p:sp>
      <p:sp>
        <p:nvSpPr>
          <p:cNvPr id="3" name="Marcador de texto 2"/>
          <p:cNvSpPr>
            <a:spLocks noGrp="1"/>
          </p:cNvSpPr>
          <p:nvPr>
            <p:ph type="body" idx="1"/>
          </p:nvPr>
        </p:nvSpPr>
        <p:spPr/>
        <p:txBody>
          <a:bodyPr/>
          <a:lstStyle/>
          <a:p>
            <a:r>
              <a:rPr lang="es-CL" dirty="0"/>
              <a:t>La triple A</a:t>
            </a:r>
          </a:p>
        </p:txBody>
      </p:sp>
      <p:sp>
        <p:nvSpPr>
          <p:cNvPr id="4" name="Marcador de contenido 3"/>
          <p:cNvSpPr>
            <a:spLocks noGrp="1"/>
          </p:cNvSpPr>
          <p:nvPr>
            <p:ph sz="half" idx="2"/>
          </p:nvPr>
        </p:nvSpPr>
        <p:spPr>
          <a:xfrm>
            <a:off x="2267744" y="2964085"/>
            <a:ext cx="6408712" cy="3273227"/>
          </a:xfrm>
        </p:spPr>
        <p:txBody>
          <a:bodyPr/>
          <a:lstStyle/>
          <a:p>
            <a:endParaRPr lang="es-CL" dirty="0"/>
          </a:p>
          <a:p>
            <a:r>
              <a:rPr lang="es-CL" b="1" dirty="0" err="1"/>
              <a:t>Arrange</a:t>
            </a:r>
            <a:r>
              <a:rPr lang="es-CL" b="1" dirty="0"/>
              <a:t> (organizar): </a:t>
            </a:r>
            <a:r>
              <a:rPr lang="es-CL" dirty="0"/>
              <a:t>Sección donde se inician las variables, elementos, 		componentes u otro. Los que serán utilizados en el 		test.</a:t>
            </a:r>
          </a:p>
          <a:p>
            <a:endParaRPr lang="es-CL" b="1" dirty="0"/>
          </a:p>
          <a:p>
            <a:r>
              <a:rPr lang="es-CL" b="1" dirty="0" err="1"/>
              <a:t>Act</a:t>
            </a:r>
            <a:r>
              <a:rPr lang="es-CL" b="1" dirty="0"/>
              <a:t> (actuar): 	</a:t>
            </a:r>
            <a:r>
              <a:rPr lang="es-CL" dirty="0"/>
              <a:t>Sección donde se realizará el llamado y ejecución 		de las funciones para ser probadas.</a:t>
            </a:r>
          </a:p>
          <a:p>
            <a:endParaRPr lang="es-CL" b="1" dirty="0"/>
          </a:p>
          <a:p>
            <a:endParaRPr lang="es-CL" b="1" dirty="0"/>
          </a:p>
          <a:p>
            <a:r>
              <a:rPr lang="es-CL" b="1" dirty="0" err="1"/>
              <a:t>Assert</a:t>
            </a:r>
            <a:r>
              <a:rPr lang="es-CL" b="1" dirty="0"/>
              <a:t> (validar):	</a:t>
            </a:r>
            <a:r>
              <a:rPr lang="es-CL" dirty="0"/>
              <a:t>Sección donde se comprobará si el test fue 		aprobado o no.</a:t>
            </a:r>
            <a:endParaRPr lang="es-CL" b="1" dirty="0"/>
          </a:p>
        </p:txBody>
      </p:sp>
      <p:sp>
        <p:nvSpPr>
          <p:cNvPr id="6" name="100 Forma libre"/>
          <p:cNvSpPr/>
          <p:nvPr/>
        </p:nvSpPr>
        <p:spPr>
          <a:xfrm>
            <a:off x="827584" y="3048452"/>
            <a:ext cx="1296144" cy="956612"/>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olidFill>
            <a:srgbClr val="002060"/>
          </a:solidFill>
          <a:scene3d>
            <a:camera prst="orthographicFront"/>
            <a:lightRig rig="flat" dir="t"/>
          </a:scene3d>
          <a:sp3d prstMaterial="plastic">
            <a:bevelT w="120900" h="88900"/>
            <a:bevelB w="88900" h="31750" prst="angle"/>
          </a:sp3d>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2000" kern="1200" dirty="0" err="1"/>
              <a:t>Arrange</a:t>
            </a:r>
            <a:endParaRPr lang="es-ES" sz="2000" kern="1200" dirty="0"/>
          </a:p>
        </p:txBody>
      </p:sp>
      <p:sp>
        <p:nvSpPr>
          <p:cNvPr id="7" name="100 Forma libre"/>
          <p:cNvSpPr/>
          <p:nvPr/>
        </p:nvSpPr>
        <p:spPr>
          <a:xfrm>
            <a:off x="827584" y="4122392"/>
            <a:ext cx="1296144" cy="956612"/>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2000" kern="1200" dirty="0" err="1"/>
              <a:t>Act</a:t>
            </a:r>
            <a:endParaRPr lang="es-ES" sz="2000" kern="1200" dirty="0"/>
          </a:p>
        </p:txBody>
      </p:sp>
      <p:sp>
        <p:nvSpPr>
          <p:cNvPr id="8" name="100 Forma libre"/>
          <p:cNvSpPr/>
          <p:nvPr/>
        </p:nvSpPr>
        <p:spPr>
          <a:xfrm>
            <a:off x="827584" y="5179852"/>
            <a:ext cx="1296144" cy="956612"/>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olidFill>
            <a:srgbClr val="960F68"/>
          </a:solidFill>
          <a:scene3d>
            <a:camera prst="orthographicFront"/>
            <a:lightRig rig="flat" dir="t"/>
          </a:scene3d>
          <a:sp3d prstMaterial="plastic">
            <a:bevelT w="120900" h="88900"/>
            <a:bevelB w="88900" h="31750" prst="angle"/>
          </a:sp3d>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2000" kern="1200" dirty="0" err="1"/>
              <a:t>Assert</a:t>
            </a:r>
            <a:endParaRPr lang="es-ES" sz="2000" kern="1200" dirty="0"/>
          </a:p>
        </p:txBody>
      </p:sp>
    </p:spTree>
    <p:extLst>
      <p:ext uri="{BB962C8B-B14F-4D97-AF65-F5344CB8AC3E}">
        <p14:creationId xmlns:p14="http://schemas.microsoft.com/office/powerpoint/2010/main" val="712621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396718" y="1988840"/>
            <a:ext cx="8280000" cy="1368152"/>
          </a:xfrm>
        </p:spPr>
        <p:txBody>
          <a:bodyPr>
            <a:normAutofit/>
          </a:bodyPr>
          <a:lstStyle/>
          <a:p>
            <a:r>
              <a:rPr lang="es-CL" sz="4800" dirty="0"/>
              <a:t>JASMINE Y KARMA</a:t>
            </a:r>
          </a:p>
        </p:txBody>
      </p:sp>
      <p:sp>
        <p:nvSpPr>
          <p:cNvPr id="2" name="Marcador de contenido 1"/>
          <p:cNvSpPr>
            <a:spLocks noGrp="1"/>
          </p:cNvSpPr>
          <p:nvPr>
            <p:ph type="body" idx="1"/>
          </p:nvPr>
        </p:nvSpPr>
        <p:spPr>
          <a:xfrm>
            <a:off x="396718" y="2924944"/>
            <a:ext cx="8280000" cy="432048"/>
          </a:xfrm>
        </p:spPr>
        <p:txBody>
          <a:bodyPr/>
          <a:lstStyle/>
          <a:p>
            <a:r>
              <a:rPr lang="es-CL" dirty="0"/>
              <a:t>Desarrollo de pruebas unitarias en angular</a:t>
            </a:r>
          </a:p>
        </p:txBody>
      </p:sp>
      <p:pic>
        <p:nvPicPr>
          <p:cNvPr id="4" name="Imagen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1884" y="4941168"/>
            <a:ext cx="3626540" cy="1423417"/>
          </a:xfrm>
          <a:prstGeom prst="rect">
            <a:avLst/>
          </a:prstGeom>
        </p:spPr>
      </p:pic>
    </p:spTree>
    <p:extLst>
      <p:ext uri="{BB962C8B-B14F-4D97-AF65-F5344CB8AC3E}">
        <p14:creationId xmlns:p14="http://schemas.microsoft.com/office/powerpoint/2010/main" val="2476077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Jasmine y Karma</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Qué es Jasmine y Karma?</a:t>
            </a:r>
          </a:p>
        </p:txBody>
      </p:sp>
      <p:sp>
        <p:nvSpPr>
          <p:cNvPr id="10" name="3 Marcador de contenido"/>
          <p:cNvSpPr>
            <a:spLocks noGrp="1"/>
          </p:cNvSpPr>
          <p:nvPr>
            <p:ph sz="half" idx="2"/>
          </p:nvPr>
        </p:nvSpPr>
        <p:spPr>
          <a:xfrm>
            <a:off x="395536" y="2276872"/>
            <a:ext cx="8136904" cy="4464496"/>
          </a:xfrm>
        </p:spPr>
        <p:txBody>
          <a:bodyPr tIns="0" bIns="0">
            <a:normAutofit lnSpcReduction="10000"/>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1798638" algn="just">
              <a:spcAft>
                <a:spcPts val="600"/>
              </a:spcAft>
            </a:pPr>
            <a:r>
              <a:rPr lang="es-ES" sz="1600" b="1" i="1" dirty="0"/>
              <a:t>Jasmine</a:t>
            </a:r>
            <a:r>
              <a:rPr lang="es-ES" sz="1600" i="1" dirty="0"/>
              <a:t> es un </a:t>
            </a:r>
            <a:r>
              <a:rPr lang="es-ES" sz="1600" i="1" dirty="0" err="1"/>
              <a:t>behavior-driven</a:t>
            </a:r>
            <a:r>
              <a:rPr lang="es-ES" sz="1600" i="1" dirty="0"/>
              <a:t> </a:t>
            </a:r>
            <a:r>
              <a:rPr lang="es-ES" sz="1600" i="1" dirty="0" err="1"/>
              <a:t>devepment</a:t>
            </a:r>
            <a:r>
              <a:rPr lang="es-ES" sz="1600" i="1" dirty="0"/>
              <a:t> </a:t>
            </a:r>
            <a:r>
              <a:rPr lang="es-ES" sz="1600" i="1" dirty="0" err="1"/>
              <a:t>framework</a:t>
            </a:r>
            <a:r>
              <a:rPr lang="es-ES" sz="1600" i="1" dirty="0"/>
              <a:t>, el cual es utilizado en programación para hacer pruebas unitarias de aplicaciones JavaScript. Esto permite validar que las funciones desarrolladas, entreguen respuestas o resultados según lo que se esperaba.</a:t>
            </a:r>
          </a:p>
          <a:p>
            <a:pPr algn="just">
              <a:spcAft>
                <a:spcPts val="600"/>
              </a:spcAft>
            </a:pPr>
            <a:r>
              <a:rPr lang="es-ES" sz="1600" dirty="0"/>
              <a:t>		</a:t>
            </a:r>
            <a:r>
              <a:rPr lang="es-ES" sz="1600" b="1" i="1" dirty="0"/>
              <a:t>Karma </a:t>
            </a:r>
            <a:r>
              <a:rPr lang="es-ES" sz="1600" i="1" dirty="0"/>
              <a:t>es un test </a:t>
            </a:r>
            <a:r>
              <a:rPr lang="es-ES" sz="1600" i="1" dirty="0" err="1"/>
              <a:t>runner</a:t>
            </a:r>
            <a:r>
              <a:rPr lang="es-ES" sz="1600" i="1" dirty="0"/>
              <a:t> creado por el equipo de angular, el cual 		nos permite automatizar algunas tareas de los </a:t>
            </a:r>
            <a:r>
              <a:rPr lang="es-ES" sz="1600" i="1" dirty="0" err="1"/>
              <a:t>frames</a:t>
            </a:r>
            <a:r>
              <a:rPr lang="es-ES" sz="1600" i="1" dirty="0"/>
              <a:t> de </a:t>
            </a:r>
            <a:r>
              <a:rPr lang="es-ES" sz="1600" i="1" dirty="0" err="1"/>
              <a:t>tests</a:t>
            </a:r>
            <a:r>
              <a:rPr lang="es-ES" sz="1600" i="1" dirty="0"/>
              <a:t>, por 		ejemplo Jasmine.</a:t>
            </a:r>
            <a:endParaRPr lang="es-ES" sz="1600" dirty="0"/>
          </a:p>
          <a:p>
            <a:pPr lvl="0" algn="just">
              <a:spcAft>
                <a:spcPts val="600"/>
              </a:spcAft>
            </a:pPr>
            <a:r>
              <a:rPr lang="es-ES" sz="1600" b="1" dirty="0">
                <a:solidFill>
                  <a:srgbClr val="000000">
                    <a:lumMod val="50000"/>
                    <a:lumOff val="50000"/>
                  </a:srgbClr>
                </a:solidFill>
              </a:rPr>
              <a:t>¿Por qué utilizarlos?</a:t>
            </a:r>
            <a:endParaRPr lang="es-ES" sz="1600" dirty="0"/>
          </a:p>
          <a:p>
            <a:pPr marL="285750" indent="-285750" algn="just">
              <a:spcAft>
                <a:spcPts val="600"/>
              </a:spcAft>
              <a:buFont typeface="Wingdings" pitchFamily="2" charset="2"/>
              <a:buChar char="Ø"/>
            </a:pPr>
            <a:r>
              <a:rPr lang="es-ES" sz="1600" dirty="0"/>
              <a:t>La ejecución de pruebas unitarias no necesariamente tiene que ser automatizada, aunque ya hemos visto que </a:t>
            </a:r>
            <a:r>
              <a:rPr lang="es-ES" sz="1600" b="1" dirty="0"/>
              <a:t>es lo optimo</a:t>
            </a:r>
            <a:r>
              <a:rPr lang="es-ES" sz="1600" dirty="0"/>
              <a:t>, ya que van a repetirse con bastante frecuencia.</a:t>
            </a:r>
          </a:p>
          <a:p>
            <a:pPr marL="285750" indent="-285750" algn="just">
              <a:spcAft>
                <a:spcPts val="600"/>
              </a:spcAft>
              <a:buFont typeface="Wingdings" pitchFamily="2" charset="2"/>
              <a:buChar char="Ø"/>
            </a:pPr>
            <a:r>
              <a:rPr lang="es-ES" sz="1600" dirty="0"/>
              <a:t>Aunque es posible automatizar las pruebas unitarias generando nuestras propias clases y funciones, conviene disponer de una herramienta para </a:t>
            </a:r>
            <a:r>
              <a:rPr lang="es-ES" sz="1600" b="1" dirty="0"/>
              <a:t>facilitar esta labor</a:t>
            </a:r>
            <a:r>
              <a:rPr lang="es-ES" sz="1600" dirty="0"/>
              <a:t>. </a:t>
            </a:r>
          </a:p>
          <a:p>
            <a:pPr marL="285750" indent="-285750" algn="just">
              <a:spcAft>
                <a:spcPts val="600"/>
              </a:spcAft>
              <a:buFont typeface="Wingdings" pitchFamily="2" charset="2"/>
              <a:buChar char="Ø"/>
            </a:pPr>
            <a:r>
              <a:rPr lang="es-ES" sz="1600" dirty="0"/>
              <a:t>Jasmine es un </a:t>
            </a:r>
            <a:r>
              <a:rPr lang="es-ES" sz="1600" dirty="0" err="1"/>
              <a:t>framework</a:t>
            </a:r>
            <a:r>
              <a:rPr lang="es-ES" sz="1600" dirty="0"/>
              <a:t> Open </a:t>
            </a:r>
            <a:r>
              <a:rPr lang="es-ES" sz="1600" dirty="0" err="1"/>
              <a:t>Source</a:t>
            </a:r>
            <a:r>
              <a:rPr lang="es-ES" sz="1600" dirty="0"/>
              <a:t> que se ha convertido en el </a:t>
            </a:r>
            <a:r>
              <a:rPr lang="es-ES" sz="1600" b="1" dirty="0"/>
              <a:t>estándar para la automatización</a:t>
            </a:r>
            <a:r>
              <a:rPr lang="es-ES" sz="1600" dirty="0"/>
              <a:t> de las pruebas de funciones JavaScript.</a:t>
            </a:r>
          </a:p>
        </p:txBody>
      </p:sp>
      <p:pic>
        <p:nvPicPr>
          <p:cNvPr id="7" name="Imagen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544" y="2780928"/>
            <a:ext cx="1651139" cy="792088"/>
          </a:xfrm>
          <a:prstGeom prst="rect">
            <a:avLst/>
          </a:prstGeom>
        </p:spPr>
      </p:pic>
    </p:spTree>
    <p:extLst>
      <p:ext uri="{BB962C8B-B14F-4D97-AF65-F5344CB8AC3E}">
        <p14:creationId xmlns:p14="http://schemas.microsoft.com/office/powerpoint/2010/main" val="1359721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Effect transition="in" filter="fade">
                                      <p:cBhvr>
                                        <p:cTn id="13" dur="500"/>
                                        <p:tgtEl>
                                          <p:spTgt spid="10">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xEl>
                                              <p:pRg st="2" end="2"/>
                                            </p:txEl>
                                          </p:spTgt>
                                        </p:tgtEl>
                                        <p:attrNameLst>
                                          <p:attrName>style.visibility</p:attrName>
                                        </p:attrNameLst>
                                      </p:cBhvr>
                                      <p:to>
                                        <p:strVal val="visible"/>
                                      </p:to>
                                    </p:set>
                                    <p:animEffect transition="in" filter="fade">
                                      <p:cBhvr>
                                        <p:cTn id="18" dur="500"/>
                                        <p:tgtEl>
                                          <p:spTgt spid="1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xEl>
                                              <p:pRg st="3" end="3"/>
                                            </p:txEl>
                                          </p:spTgt>
                                        </p:tgtEl>
                                        <p:attrNameLst>
                                          <p:attrName>style.visibility</p:attrName>
                                        </p:attrNameLst>
                                      </p:cBhvr>
                                      <p:to>
                                        <p:strVal val="visible"/>
                                      </p:to>
                                    </p:set>
                                    <p:animEffect transition="in" filter="fade">
                                      <p:cBhvr>
                                        <p:cTn id="23" dur="500"/>
                                        <p:tgtEl>
                                          <p:spTgt spid="10">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
                                            <p:txEl>
                                              <p:pRg st="4" end="4"/>
                                            </p:txEl>
                                          </p:spTgt>
                                        </p:tgtEl>
                                        <p:attrNameLst>
                                          <p:attrName>style.visibility</p:attrName>
                                        </p:attrNameLst>
                                      </p:cBhvr>
                                      <p:to>
                                        <p:strVal val="visible"/>
                                      </p:to>
                                    </p:set>
                                    <p:animEffect transition="in" filter="fade">
                                      <p:cBhvr>
                                        <p:cTn id="28" dur="500"/>
                                        <p:tgtEl>
                                          <p:spTgt spid="10">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0">
                                            <p:txEl>
                                              <p:pRg st="5" end="5"/>
                                            </p:txEl>
                                          </p:spTgt>
                                        </p:tgtEl>
                                        <p:attrNameLst>
                                          <p:attrName>style.visibility</p:attrName>
                                        </p:attrNameLst>
                                      </p:cBhvr>
                                      <p:to>
                                        <p:strVal val="visible"/>
                                      </p:to>
                                    </p:set>
                                    <p:animEffect transition="in" filter="fade">
                                      <p:cBhvr>
                                        <p:cTn id="33"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Jasmine y Karma </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otras ventajas…</a:t>
            </a:r>
          </a:p>
        </p:txBody>
      </p:sp>
      <p:sp>
        <p:nvSpPr>
          <p:cNvPr id="10" name="3 Marcador de contenido"/>
          <p:cNvSpPr>
            <a:spLocks noGrp="1"/>
          </p:cNvSpPr>
          <p:nvPr>
            <p:ph sz="half" idx="2"/>
          </p:nvPr>
        </p:nvSpPr>
        <p:spPr>
          <a:xfrm>
            <a:off x="395536" y="2276872"/>
            <a:ext cx="8352928" cy="4464496"/>
          </a:xfrm>
        </p:spPr>
        <p:txBody>
          <a:bodyPr tIns="0" bIns="0">
            <a:norm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285750" indent="-285750" algn="just">
              <a:spcAft>
                <a:spcPts val="600"/>
              </a:spcAft>
              <a:buFont typeface="Wingdings" pitchFamily="2" charset="2"/>
              <a:buChar char="ü"/>
            </a:pPr>
            <a:r>
              <a:rPr lang="es-ES" sz="1600" dirty="0"/>
              <a:t>Es </a:t>
            </a:r>
            <a:r>
              <a:rPr lang="es-ES" sz="1600" b="1" dirty="0"/>
              <a:t>gratuito</a:t>
            </a:r>
            <a:r>
              <a:rPr lang="es-ES" sz="1600" dirty="0"/>
              <a:t>, open </a:t>
            </a:r>
            <a:r>
              <a:rPr lang="es-ES" sz="1600" dirty="0" err="1"/>
              <a:t>source</a:t>
            </a:r>
            <a:r>
              <a:rPr lang="es-ES" sz="1600" dirty="0"/>
              <a:t> y puede ser utilizado en desarrollos comerciales.</a:t>
            </a:r>
          </a:p>
          <a:p>
            <a:pPr marL="285750" indent="-285750" algn="just">
              <a:spcAft>
                <a:spcPts val="600"/>
              </a:spcAft>
              <a:buFont typeface="Wingdings" pitchFamily="2" charset="2"/>
              <a:buChar char="ü"/>
            </a:pPr>
            <a:r>
              <a:rPr lang="es-ES" sz="1600" dirty="0"/>
              <a:t>Actualmente se encuentra bien </a:t>
            </a:r>
            <a:r>
              <a:rPr lang="es-ES" sz="1600" b="1" dirty="0"/>
              <a:t>mantenido</a:t>
            </a:r>
            <a:r>
              <a:rPr lang="es-ES" sz="1600" dirty="0"/>
              <a:t> y en </a:t>
            </a:r>
            <a:r>
              <a:rPr lang="es-ES" sz="1600" b="1" dirty="0"/>
              <a:t>constante mejora</a:t>
            </a:r>
            <a:r>
              <a:rPr lang="es-ES" sz="1600" dirty="0"/>
              <a:t>.</a:t>
            </a:r>
          </a:p>
          <a:p>
            <a:pPr marL="285750" indent="-285750" algn="just">
              <a:spcAft>
                <a:spcPts val="600"/>
              </a:spcAft>
              <a:buFont typeface="Wingdings" pitchFamily="2" charset="2"/>
              <a:buChar char="ü"/>
            </a:pPr>
            <a:r>
              <a:rPr lang="es-ES" sz="1600" dirty="0"/>
              <a:t>Es </a:t>
            </a:r>
            <a:r>
              <a:rPr lang="es-ES" sz="1600" b="1" dirty="0"/>
              <a:t>fácil de usar y configurar </a:t>
            </a:r>
            <a:r>
              <a:rPr lang="es-ES" sz="1600" dirty="0"/>
              <a:t>por lo que prácticamente no existe curva de aprendizaje.</a:t>
            </a:r>
          </a:p>
          <a:p>
            <a:pPr marL="285750" indent="-285750" algn="just">
              <a:spcAft>
                <a:spcPts val="600"/>
              </a:spcAft>
              <a:buFont typeface="Wingdings" pitchFamily="2" charset="2"/>
              <a:buChar char="ü"/>
            </a:pPr>
            <a:endParaRPr lang="es-ES" sz="1600" dirty="0"/>
          </a:p>
          <a:p>
            <a:pPr marL="285750" indent="-285750" algn="just">
              <a:spcAft>
                <a:spcPts val="600"/>
              </a:spcAft>
              <a:buFont typeface="Wingdings" pitchFamily="2" charset="2"/>
              <a:buChar char="ü"/>
            </a:pPr>
            <a:endParaRPr lang="es-ES" sz="1600" dirty="0"/>
          </a:p>
          <a:p>
            <a:pPr algn="just">
              <a:spcAft>
                <a:spcPts val="600"/>
              </a:spcAft>
            </a:pPr>
            <a:endParaRPr lang="es-ES" sz="1600" dirty="0"/>
          </a:p>
          <a:p>
            <a:pPr marL="285750" indent="-285750" algn="just">
              <a:spcAft>
                <a:spcPts val="600"/>
              </a:spcAft>
              <a:buFont typeface="Wingdings" pitchFamily="2" charset="2"/>
              <a:buChar char="ü"/>
            </a:pPr>
            <a:r>
              <a:rPr lang="es-ES" sz="1600" dirty="0"/>
              <a:t>Viene preinstalado al momento de crear un proyecto basado en angular. </a:t>
            </a:r>
          </a:p>
          <a:p>
            <a:pPr marL="285750" indent="-285750" algn="just">
              <a:spcAft>
                <a:spcPts val="600"/>
              </a:spcAft>
              <a:buFont typeface="Wingdings" pitchFamily="2" charset="2"/>
              <a:buChar char="ü"/>
            </a:pPr>
            <a:r>
              <a:rPr lang="es-ES" sz="1600" dirty="0"/>
              <a:t>Incluye </a:t>
            </a:r>
            <a:r>
              <a:rPr lang="es-ES" sz="1600" b="1" dirty="0"/>
              <a:t>formas de ver los resultados, </a:t>
            </a:r>
            <a:r>
              <a:rPr lang="es-ES" sz="1600" dirty="0"/>
              <a:t>que pueden ser en modo texto (consola), reporte </a:t>
            </a:r>
            <a:r>
              <a:rPr lang="es-ES" sz="1600" dirty="0" err="1"/>
              <a:t>html</a:t>
            </a:r>
            <a:r>
              <a:rPr lang="es-ES" sz="1600" dirty="0"/>
              <a:t> (generado por karma).</a:t>
            </a:r>
          </a:p>
          <a:p>
            <a:pPr marL="285750" indent="-285750" algn="just">
              <a:spcAft>
                <a:spcPts val="600"/>
              </a:spcAft>
              <a:buFont typeface="Wingdings" pitchFamily="2" charset="2"/>
              <a:buChar char="ü"/>
            </a:pPr>
            <a:r>
              <a:rPr lang="es-ES" sz="1600" dirty="0"/>
              <a:t>Permite su inclusión automática en procesos de </a:t>
            </a:r>
            <a:r>
              <a:rPr lang="es-ES" sz="1600" b="1" dirty="0"/>
              <a:t>integración continua</a:t>
            </a:r>
            <a:r>
              <a:rPr lang="es-ES" sz="1600" dirty="0"/>
              <a:t>.</a:t>
            </a:r>
          </a:p>
        </p:txBody>
      </p:sp>
      <p:sp>
        <p:nvSpPr>
          <p:cNvPr id="6" name="5 Llamada rectangular redondeada"/>
          <p:cNvSpPr/>
          <p:nvPr/>
        </p:nvSpPr>
        <p:spPr>
          <a:xfrm>
            <a:off x="3995936" y="3501008"/>
            <a:ext cx="2952328" cy="864096"/>
          </a:xfrm>
          <a:prstGeom prst="wedgeRoundRectCallout">
            <a:avLst>
              <a:gd name="adj1" fmla="val -100223"/>
              <a:gd name="adj2" fmla="val -75625"/>
              <a:gd name="adj3" fmla="val 16667"/>
            </a:avLst>
          </a:prstGeom>
          <a:solidFill>
            <a:schemeClr val="bg1"/>
          </a:solidFill>
          <a:ln>
            <a:solidFill>
              <a:srgbClr val="66003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lstStyle/>
          <a:p>
            <a:pPr algn="ctr"/>
            <a:r>
              <a:rPr lang="es-ES" sz="1400" dirty="0">
                <a:solidFill>
                  <a:srgbClr val="960F68"/>
                </a:solidFill>
              </a:rPr>
              <a:t>salvo el cambio de mentalidad en los programadores para usar técnicas que faciliten el uso de unidades de prueba.</a:t>
            </a:r>
          </a:p>
        </p:txBody>
      </p:sp>
    </p:spTree>
    <p:extLst>
      <p:ext uri="{BB962C8B-B14F-4D97-AF65-F5344CB8AC3E}">
        <p14:creationId xmlns:p14="http://schemas.microsoft.com/office/powerpoint/2010/main" val="2106840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500"/>
                                        <p:tgtEl>
                                          <p:spTgt spid="10">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2" end="2"/>
                                            </p:txEl>
                                          </p:spTgt>
                                        </p:tgtEl>
                                        <p:attrNameLst>
                                          <p:attrName>style.visibility</p:attrName>
                                        </p:attrNameLst>
                                      </p:cBhvr>
                                      <p:to>
                                        <p:strVal val="visible"/>
                                      </p:to>
                                    </p:set>
                                    <p:animEffect transition="in" filter="fade">
                                      <p:cBhvr>
                                        <p:cTn id="22" dur="500"/>
                                        <p:tgtEl>
                                          <p:spTgt spid="10">
                                            <p:txEl>
                                              <p:pRg st="2" end="2"/>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xEl>
                                              <p:pRg st="7" end="7"/>
                                            </p:txEl>
                                          </p:spTgt>
                                        </p:tgtEl>
                                        <p:attrNameLst>
                                          <p:attrName>style.visibility</p:attrName>
                                        </p:attrNameLst>
                                      </p:cBhvr>
                                      <p:to>
                                        <p:strVal val="visible"/>
                                      </p:to>
                                    </p:set>
                                    <p:animEffect transition="in" filter="fade">
                                      <p:cBhvr>
                                        <p:cTn id="36" dur="500"/>
                                        <p:tgtEl>
                                          <p:spTgt spid="10">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
                                            <p:txEl>
                                              <p:pRg st="8" end="8"/>
                                            </p:txEl>
                                          </p:spTgt>
                                        </p:tgtEl>
                                        <p:attrNameLst>
                                          <p:attrName>style.visibility</p:attrName>
                                        </p:attrNameLst>
                                      </p:cBhvr>
                                      <p:to>
                                        <p:strVal val="visible"/>
                                      </p:to>
                                    </p:set>
                                    <p:animEffect transition="in" filter="fade">
                                      <p:cBhvr>
                                        <p:cTn id="41"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Jasmine y Karma </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cómo funciona Jasmine?</a:t>
            </a:r>
          </a:p>
        </p:txBody>
      </p:sp>
      <p:grpSp>
        <p:nvGrpSpPr>
          <p:cNvPr id="3" name="Grupo 2"/>
          <p:cNvGrpSpPr/>
          <p:nvPr/>
        </p:nvGrpSpPr>
        <p:grpSpPr>
          <a:xfrm>
            <a:off x="2449938" y="2420888"/>
            <a:ext cx="2338086" cy="1377444"/>
            <a:chOff x="2449938" y="2420888"/>
            <a:chExt cx="2338086" cy="1377444"/>
          </a:xfrm>
        </p:grpSpPr>
        <p:sp>
          <p:nvSpPr>
            <p:cNvPr id="14" name="13 CuadroTexto"/>
            <p:cNvSpPr txBox="1"/>
            <p:nvPr/>
          </p:nvSpPr>
          <p:spPr>
            <a:xfrm>
              <a:off x="2449938" y="3429000"/>
              <a:ext cx="2338086" cy="369332"/>
            </a:xfrm>
            <a:prstGeom prst="rect">
              <a:avLst/>
            </a:prstGeom>
            <a:noFill/>
          </p:spPr>
          <p:txBody>
            <a:bodyPr wrap="square" rtlCol="0">
              <a:spAutoFit/>
            </a:bodyPr>
            <a:lstStyle/>
            <a:p>
              <a:pPr lvl="0" algn="ctr"/>
              <a:r>
                <a:rPr lang="es-ES" b="1" i="1" dirty="0">
                  <a:solidFill>
                    <a:schemeClr val="bg1">
                      <a:lumMod val="65000"/>
                    </a:schemeClr>
                  </a:solidFill>
                  <a:effectLst>
                    <a:outerShdw blurRad="50800" dist="38100" dir="2700000" algn="tl" rotWithShape="0">
                      <a:prstClr val="black">
                        <a:alpha val="40000"/>
                      </a:prstClr>
                    </a:outerShdw>
                  </a:effectLst>
                </a:rPr>
                <a:t>Jasmine</a:t>
              </a:r>
            </a:p>
          </p:txBody>
        </p:sp>
        <p:grpSp>
          <p:nvGrpSpPr>
            <p:cNvPr id="6" name="5 Grupo"/>
            <p:cNvGrpSpPr/>
            <p:nvPr/>
          </p:nvGrpSpPr>
          <p:grpSpPr>
            <a:xfrm>
              <a:off x="3131840" y="2420888"/>
              <a:ext cx="936103" cy="746694"/>
              <a:chOff x="3468849" y="4311620"/>
              <a:chExt cx="2587788" cy="1656184"/>
            </a:xfrm>
            <a:solidFill>
              <a:schemeClr val="tx2">
                <a:lumMod val="20000"/>
                <a:lumOff val="80000"/>
              </a:schemeClr>
            </a:solidFill>
            <a:effectLst>
              <a:glow rad="228600">
                <a:schemeClr val="accent1">
                  <a:satMod val="175000"/>
                  <a:alpha val="40000"/>
                </a:schemeClr>
              </a:glow>
            </a:effectLst>
            <a:scene3d>
              <a:camera prst="perspectiveContrastingRightFacing"/>
              <a:lightRig rig="threePt" dir="t"/>
            </a:scene3d>
          </p:grpSpPr>
          <p:sp>
            <p:nvSpPr>
              <p:cNvPr id="7" name="6 Rectángulo"/>
              <p:cNvSpPr/>
              <p:nvPr/>
            </p:nvSpPr>
            <p:spPr>
              <a:xfrm>
                <a:off x="3468849" y="4311620"/>
                <a:ext cx="2587788" cy="1656184"/>
              </a:xfrm>
              <a:prstGeom prst="rect">
                <a:avLst/>
              </a:prstGeom>
              <a:grpFill/>
            </p:spPr>
            <p:style>
              <a:lnRef idx="1">
                <a:schemeClr val="dk1"/>
              </a:lnRef>
              <a:fillRef idx="2">
                <a:schemeClr val="dk1"/>
              </a:fillRef>
              <a:effectRef idx="1">
                <a:schemeClr val="dk1"/>
              </a:effectRef>
              <a:fontRef idx="minor">
                <a:schemeClr val="dk1"/>
              </a:fontRef>
            </p:style>
            <p:txBody>
              <a:bodyPr rtlCol="0" anchor="b"/>
              <a:lstStyle/>
              <a:p>
                <a:pPr algn="ctr"/>
                <a:r>
                  <a:rPr lang="es-ES" sz="1200" b="1" dirty="0">
                    <a:solidFill>
                      <a:srgbClr val="660033"/>
                    </a:solidFill>
                  </a:rPr>
                  <a:t>Función</a:t>
                </a:r>
              </a:p>
            </p:txBody>
          </p:sp>
          <p:sp>
            <p:nvSpPr>
              <p:cNvPr id="8" name="7 Rectángulo"/>
              <p:cNvSpPr/>
              <p:nvPr/>
            </p:nvSpPr>
            <p:spPr>
              <a:xfrm>
                <a:off x="5580112" y="4437112"/>
                <a:ext cx="288032" cy="432048"/>
              </a:xfrm>
              <a:prstGeom prst="rect">
                <a:avLst/>
              </a:prstGeom>
              <a:grpFill/>
            </p:spPr>
            <p:style>
              <a:lnRef idx="1">
                <a:schemeClr val="dk1"/>
              </a:lnRef>
              <a:fillRef idx="2">
                <a:schemeClr val="dk1"/>
              </a:fillRef>
              <a:effectRef idx="1">
                <a:schemeClr val="dk1"/>
              </a:effectRef>
              <a:fontRef idx="minor">
                <a:schemeClr val="dk1"/>
              </a:fontRef>
            </p:style>
            <p:txBody>
              <a:bodyPr rtlCol="0" anchor="ctr"/>
              <a:lstStyle/>
              <a:p>
                <a:pPr algn="ctr"/>
                <a:endParaRPr lang="es-ES" sz="1600"/>
              </a:p>
            </p:txBody>
          </p:sp>
          <p:sp>
            <p:nvSpPr>
              <p:cNvPr id="9" name="8 Rectángulo"/>
              <p:cNvSpPr/>
              <p:nvPr/>
            </p:nvSpPr>
            <p:spPr>
              <a:xfrm>
                <a:off x="5485244" y="4509120"/>
                <a:ext cx="199070" cy="98298"/>
              </a:xfrm>
              <a:prstGeom prst="rect">
                <a:avLst/>
              </a:prstGeom>
              <a:grpFill/>
            </p:spPr>
            <p:style>
              <a:lnRef idx="1">
                <a:schemeClr val="dk1"/>
              </a:lnRef>
              <a:fillRef idx="2">
                <a:schemeClr val="dk1"/>
              </a:fillRef>
              <a:effectRef idx="1">
                <a:schemeClr val="dk1"/>
              </a:effectRef>
              <a:fontRef idx="minor">
                <a:schemeClr val="dk1"/>
              </a:fontRef>
            </p:style>
            <p:txBody>
              <a:bodyPr rtlCol="0" anchor="ctr"/>
              <a:lstStyle/>
              <a:p>
                <a:pPr algn="ctr"/>
                <a:endParaRPr lang="es-ES" sz="1600"/>
              </a:p>
            </p:txBody>
          </p:sp>
          <p:sp>
            <p:nvSpPr>
              <p:cNvPr id="11" name="10 Rectángulo"/>
              <p:cNvSpPr/>
              <p:nvPr/>
            </p:nvSpPr>
            <p:spPr>
              <a:xfrm>
                <a:off x="5485244" y="4691234"/>
                <a:ext cx="199070" cy="98298"/>
              </a:xfrm>
              <a:prstGeom prst="rect">
                <a:avLst/>
              </a:prstGeom>
              <a:grpFill/>
            </p:spPr>
            <p:style>
              <a:lnRef idx="1">
                <a:schemeClr val="dk1"/>
              </a:lnRef>
              <a:fillRef idx="2">
                <a:schemeClr val="dk1"/>
              </a:fillRef>
              <a:effectRef idx="1">
                <a:schemeClr val="dk1"/>
              </a:effectRef>
              <a:fontRef idx="minor">
                <a:schemeClr val="dk1"/>
              </a:fontRef>
            </p:style>
            <p:txBody>
              <a:bodyPr rtlCol="0" anchor="ctr"/>
              <a:lstStyle/>
              <a:p>
                <a:pPr algn="ctr"/>
                <a:endParaRPr lang="es-ES" sz="1600"/>
              </a:p>
            </p:txBody>
          </p:sp>
        </p:grpSp>
      </p:grpSp>
      <p:sp>
        <p:nvSpPr>
          <p:cNvPr id="18" name="Rectangle 3"/>
          <p:cNvSpPr txBox="1">
            <a:spLocks noChangeArrowheads="1"/>
          </p:cNvSpPr>
          <p:nvPr/>
        </p:nvSpPr>
        <p:spPr>
          <a:xfrm>
            <a:off x="755576" y="2348880"/>
            <a:ext cx="1296144" cy="576064"/>
          </a:xfrm>
          <a:prstGeom prst="rect">
            <a:avLst/>
          </a:prstGeom>
          <a:noFill/>
          <a:ln w="38100">
            <a:noFill/>
            <a:miter lim="800000"/>
            <a:headEnd/>
            <a:tailEnd/>
          </a:ln>
        </p:spPr>
        <p:txBody>
          <a:bodyPr vert="horz" lIns="144000" tIns="45720" rIns="91440" bIns="45720" rtlCol="0" anchor="t">
            <a:noAutofit/>
          </a:bodyPr>
          <a:lstStyle>
            <a:defPPr>
              <a:defRPr lang="es-ES"/>
            </a:defPPr>
            <a:lvl1pPr indent="0">
              <a:spcBef>
                <a:spcPct val="20000"/>
              </a:spcBef>
              <a:buFont typeface="Arial" pitchFamily="34" charset="0"/>
              <a:buNone/>
              <a:defRPr sz="1400" b="1" cap="all">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cs typeface="Arial" pitchFamily="34" charset="0"/>
              </a:defRPr>
            </a:lvl1pPr>
            <a:lvl2pPr indent="0">
              <a:spcBef>
                <a:spcPct val="20000"/>
              </a:spcBef>
              <a:buFont typeface="Arial" pitchFamily="34" charset="0"/>
              <a:buNone/>
              <a:defRPr sz="2000" b="1"/>
            </a:lvl2pPr>
            <a:lvl3pPr indent="0">
              <a:spcBef>
                <a:spcPct val="20000"/>
              </a:spcBef>
              <a:buFont typeface="Arial" pitchFamily="34" charset="0"/>
              <a:buNone/>
              <a:defRPr b="1"/>
            </a:lvl3pPr>
            <a:lvl4pPr indent="0">
              <a:spcBef>
                <a:spcPct val="20000"/>
              </a:spcBef>
              <a:buFont typeface="Arial" pitchFamily="34" charset="0"/>
              <a:buNone/>
              <a:defRPr sz="1600" b="1"/>
            </a:lvl4pPr>
            <a:lvl5pPr indent="0">
              <a:spcBef>
                <a:spcPct val="20000"/>
              </a:spcBef>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s-ES" sz="1200" dirty="0"/>
              <a:t>Valor de entrada</a:t>
            </a:r>
          </a:p>
        </p:txBody>
      </p:sp>
      <p:sp>
        <p:nvSpPr>
          <p:cNvPr id="19" name="Rectangle 3"/>
          <p:cNvSpPr txBox="1">
            <a:spLocks noChangeArrowheads="1"/>
          </p:cNvSpPr>
          <p:nvPr/>
        </p:nvSpPr>
        <p:spPr>
          <a:xfrm>
            <a:off x="781904" y="2996952"/>
            <a:ext cx="1296144" cy="576064"/>
          </a:xfrm>
          <a:prstGeom prst="rect">
            <a:avLst/>
          </a:prstGeom>
          <a:noFill/>
          <a:ln w="38100">
            <a:noFill/>
            <a:miter lim="800000"/>
            <a:headEnd/>
            <a:tailEnd/>
          </a:ln>
        </p:spPr>
        <p:txBody>
          <a:bodyPr vert="horz" lIns="144000" tIns="45720" rIns="91440" bIns="45720" rtlCol="0" anchor="t">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1200" b="1" cap="all" dirty="0">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rPr>
              <a:t>Valor de retorno esperado</a:t>
            </a:r>
          </a:p>
        </p:txBody>
      </p:sp>
      <p:cxnSp>
        <p:nvCxnSpPr>
          <p:cNvPr id="21" name="20 Conector recto de flecha"/>
          <p:cNvCxnSpPr/>
          <p:nvPr/>
        </p:nvCxnSpPr>
        <p:spPr>
          <a:xfrm>
            <a:off x="1907704" y="2659516"/>
            <a:ext cx="648072" cy="166569"/>
          </a:xfrm>
          <a:prstGeom prst="straightConnector1">
            <a:avLst/>
          </a:prstGeom>
          <a:solidFill>
            <a:schemeClr val="bg1"/>
          </a:solidFill>
          <a:ln>
            <a:solidFill>
              <a:srgbClr val="4D4D4D"/>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 name="22 Conector recto de flecha"/>
          <p:cNvCxnSpPr/>
          <p:nvPr/>
        </p:nvCxnSpPr>
        <p:spPr>
          <a:xfrm flipV="1">
            <a:off x="1907704" y="2991593"/>
            <a:ext cx="648072" cy="293391"/>
          </a:xfrm>
          <a:prstGeom prst="straightConnector1">
            <a:avLst/>
          </a:prstGeom>
          <a:solidFill>
            <a:schemeClr val="bg1"/>
          </a:solidFill>
          <a:ln>
            <a:solidFill>
              <a:srgbClr val="4D4D4D"/>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4" name="33 Cerrar llave"/>
          <p:cNvSpPr/>
          <p:nvPr/>
        </p:nvSpPr>
        <p:spPr>
          <a:xfrm flipH="1">
            <a:off x="4317602" y="2276872"/>
            <a:ext cx="216024" cy="1224136"/>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grpSp>
        <p:nvGrpSpPr>
          <p:cNvPr id="39" name="38 Grupo"/>
          <p:cNvGrpSpPr/>
          <p:nvPr/>
        </p:nvGrpSpPr>
        <p:grpSpPr>
          <a:xfrm>
            <a:off x="4355976" y="2924944"/>
            <a:ext cx="4299272" cy="576064"/>
            <a:chOff x="4355976" y="2359843"/>
            <a:chExt cx="4299272" cy="576064"/>
          </a:xfrm>
        </p:grpSpPr>
        <p:grpSp>
          <p:nvGrpSpPr>
            <p:cNvPr id="32" name="31 Grupo"/>
            <p:cNvGrpSpPr/>
            <p:nvPr/>
          </p:nvGrpSpPr>
          <p:grpSpPr>
            <a:xfrm>
              <a:off x="4355976" y="2359843"/>
              <a:ext cx="2762632" cy="576064"/>
              <a:chOff x="4788024" y="2356025"/>
              <a:chExt cx="2762632" cy="576064"/>
            </a:xfrm>
          </p:grpSpPr>
          <p:sp>
            <p:nvSpPr>
              <p:cNvPr id="26" name="Rectangle 3"/>
              <p:cNvSpPr txBox="1">
                <a:spLocks noChangeArrowheads="1"/>
              </p:cNvSpPr>
              <p:nvPr/>
            </p:nvSpPr>
            <p:spPr>
              <a:xfrm>
                <a:off x="4788024" y="2356025"/>
                <a:ext cx="1296144" cy="576064"/>
              </a:xfrm>
              <a:prstGeom prst="rect">
                <a:avLst/>
              </a:prstGeom>
              <a:noFill/>
              <a:ln w="38100">
                <a:noFill/>
                <a:miter lim="800000"/>
                <a:headEnd/>
                <a:tailEnd/>
              </a:ln>
            </p:spPr>
            <p:txBody>
              <a:bodyPr vert="horz" lIns="144000" tIns="45720" rIns="91440" bIns="45720" rtlCol="0" anchor="ctr">
                <a:noAutofit/>
              </a:bodyPr>
              <a:lstStyle>
                <a:defPPr>
                  <a:defRPr lang="es-ES"/>
                </a:defPPr>
                <a:lvl1pPr indent="0">
                  <a:spcBef>
                    <a:spcPct val="20000"/>
                  </a:spcBef>
                  <a:buFont typeface="Arial" pitchFamily="34" charset="0"/>
                  <a:buNone/>
                  <a:defRPr sz="1400" b="1" cap="all">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cs typeface="Arial" pitchFamily="34" charset="0"/>
                  </a:defRPr>
                </a:lvl1pPr>
                <a:lvl2pPr indent="0">
                  <a:spcBef>
                    <a:spcPct val="20000"/>
                  </a:spcBef>
                  <a:buFont typeface="Arial" pitchFamily="34" charset="0"/>
                  <a:buNone/>
                  <a:defRPr sz="2000" b="1"/>
                </a:lvl2pPr>
                <a:lvl3pPr indent="0">
                  <a:spcBef>
                    <a:spcPct val="20000"/>
                  </a:spcBef>
                  <a:buFont typeface="Arial" pitchFamily="34" charset="0"/>
                  <a:buNone/>
                  <a:defRPr b="1"/>
                </a:lvl3pPr>
                <a:lvl4pPr indent="0">
                  <a:spcBef>
                    <a:spcPct val="20000"/>
                  </a:spcBef>
                  <a:buFont typeface="Arial" pitchFamily="34" charset="0"/>
                  <a:buNone/>
                  <a:defRPr sz="1600" b="1"/>
                </a:lvl4pPr>
                <a:lvl5pPr indent="0">
                  <a:spcBef>
                    <a:spcPct val="20000"/>
                  </a:spcBef>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s-ES" sz="1200" dirty="0">
                    <a:solidFill>
                      <a:schemeClr val="accent5">
                        <a:lumMod val="75000"/>
                      </a:schemeClr>
                    </a:solidFill>
                  </a:rPr>
                  <a:t>Valor retornado</a:t>
                </a:r>
              </a:p>
            </p:txBody>
          </p:sp>
          <p:sp>
            <p:nvSpPr>
              <p:cNvPr id="27" name="Rectangle 3"/>
              <p:cNvSpPr txBox="1">
                <a:spLocks noChangeArrowheads="1"/>
              </p:cNvSpPr>
              <p:nvPr/>
            </p:nvSpPr>
            <p:spPr>
              <a:xfrm>
                <a:off x="6254512" y="2356025"/>
                <a:ext cx="1296144"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1200" b="1" cap="all" dirty="0">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rPr>
                  <a:t>Valor de retorno esperado</a:t>
                </a:r>
              </a:p>
            </p:txBody>
          </p:sp>
          <p:sp>
            <p:nvSpPr>
              <p:cNvPr id="28" name="Rectangle 3"/>
              <p:cNvSpPr txBox="1">
                <a:spLocks noChangeArrowheads="1"/>
              </p:cNvSpPr>
              <p:nvPr/>
            </p:nvSpPr>
            <p:spPr>
              <a:xfrm>
                <a:off x="5528424" y="2356025"/>
                <a:ext cx="1296144"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2400" b="1" cap="all" dirty="0">
                    <a:ln w="9000" cmpd="sng">
                      <a:solidFill>
                        <a:schemeClr val="tx1">
                          <a:lumMod val="65000"/>
                          <a:lumOff val="35000"/>
                        </a:schemeClr>
                      </a:solidFill>
                      <a:prstDash val="solid"/>
                    </a:ln>
                    <a:solidFill>
                      <a:srgbClr val="C00000"/>
                    </a:solidFill>
                    <a:effectLst>
                      <a:reflection blurRad="12700" stA="28000" endPos="45000" dist="1000" dir="5400000" sy="-100000" algn="bl" rotWithShape="0"/>
                    </a:effectLst>
                    <a:latin typeface="ArialMT"/>
                  </a:rPr>
                  <a:t>≠</a:t>
                </a:r>
              </a:p>
            </p:txBody>
          </p:sp>
        </p:grpSp>
        <p:sp>
          <p:nvSpPr>
            <p:cNvPr id="35" name="34 Forma libre"/>
            <p:cNvSpPr/>
            <p:nvPr/>
          </p:nvSpPr>
          <p:spPr>
            <a:xfrm>
              <a:off x="7020346" y="2532927"/>
              <a:ext cx="196523" cy="229896"/>
            </a:xfrm>
            <a:custGeom>
              <a:avLst/>
              <a:gdLst>
                <a:gd name="connsiteX0" fmla="*/ 0 w 196523"/>
                <a:gd name="connsiteY0" fmla="*/ 45979 h 229896"/>
                <a:gd name="connsiteX1" fmla="*/ 98262 w 196523"/>
                <a:gd name="connsiteY1" fmla="*/ 45979 h 229896"/>
                <a:gd name="connsiteX2" fmla="*/ 98262 w 196523"/>
                <a:gd name="connsiteY2" fmla="*/ 0 h 229896"/>
                <a:gd name="connsiteX3" fmla="*/ 196523 w 196523"/>
                <a:gd name="connsiteY3" fmla="*/ 114948 h 229896"/>
                <a:gd name="connsiteX4" fmla="*/ 98262 w 196523"/>
                <a:gd name="connsiteY4" fmla="*/ 229896 h 229896"/>
                <a:gd name="connsiteX5" fmla="*/ 98262 w 196523"/>
                <a:gd name="connsiteY5" fmla="*/ 183917 h 229896"/>
                <a:gd name="connsiteX6" fmla="*/ 0 w 196523"/>
                <a:gd name="connsiteY6" fmla="*/ 183917 h 229896"/>
                <a:gd name="connsiteX7" fmla="*/ 0 w 196523"/>
                <a:gd name="connsiteY7" fmla="*/ 45979 h 22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23" h="229896">
                  <a:moveTo>
                    <a:pt x="0" y="45979"/>
                  </a:moveTo>
                  <a:lnTo>
                    <a:pt x="98262" y="45979"/>
                  </a:lnTo>
                  <a:lnTo>
                    <a:pt x="98262" y="0"/>
                  </a:lnTo>
                  <a:lnTo>
                    <a:pt x="196523" y="114948"/>
                  </a:lnTo>
                  <a:lnTo>
                    <a:pt x="98262" y="229896"/>
                  </a:lnTo>
                  <a:lnTo>
                    <a:pt x="98262" y="183917"/>
                  </a:lnTo>
                  <a:lnTo>
                    <a:pt x="0" y="183917"/>
                  </a:lnTo>
                  <a:lnTo>
                    <a:pt x="0" y="45979"/>
                  </a:lnTo>
                  <a:close/>
                </a:path>
              </a:pathLst>
            </a:custGeom>
            <a:solidFill>
              <a:srgbClr val="960F68"/>
            </a:solidFill>
          </p:spPr>
          <p:style>
            <a:lnRef idx="0">
              <a:schemeClr val="accent1">
                <a:tint val="60000"/>
                <a:hueOff val="0"/>
                <a:satOff val="0"/>
                <a:lumOff val="0"/>
                <a:alphaOff val="0"/>
              </a:schemeClr>
            </a:lnRef>
            <a:fillRef idx="3">
              <a:scrgbClr r="0" g="0" b="0"/>
            </a:fillRef>
            <a:effectRef idx="3">
              <a:schemeClr val="accent1">
                <a:tint val="60000"/>
                <a:hueOff val="0"/>
                <a:satOff val="0"/>
                <a:lumOff val="0"/>
                <a:alphaOff val="0"/>
              </a:schemeClr>
            </a:effectRef>
            <a:fontRef idx="minor">
              <a:schemeClr val="lt1"/>
            </a:fontRef>
          </p:style>
          <p:txBody>
            <a:bodyPr spcFirstLastPara="0" vert="horz" wrap="square" lIns="0" tIns="45979" rIns="58957" bIns="45979" numCol="1" spcCol="1270" anchor="ctr" anchorCtr="0">
              <a:noAutofit/>
            </a:bodyPr>
            <a:lstStyle/>
            <a:p>
              <a:pPr lvl="0" algn="ctr" defTabSz="400050">
                <a:lnSpc>
                  <a:spcPct val="90000"/>
                </a:lnSpc>
                <a:spcBef>
                  <a:spcPct val="0"/>
                </a:spcBef>
                <a:spcAft>
                  <a:spcPct val="35000"/>
                </a:spcAft>
              </a:pPr>
              <a:endParaRPr lang="es-ES" sz="900" kern="1200"/>
            </a:p>
          </p:txBody>
        </p:sp>
        <p:sp>
          <p:nvSpPr>
            <p:cNvPr id="37" name="Rectangle 3"/>
            <p:cNvSpPr txBox="1">
              <a:spLocks noChangeArrowheads="1"/>
            </p:cNvSpPr>
            <p:nvPr/>
          </p:nvSpPr>
          <p:spPr>
            <a:xfrm>
              <a:off x="7215088" y="2359843"/>
              <a:ext cx="1440160"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1200" b="1" dirty="0">
                  <a:ln w="9000" cmpd="sng">
                    <a:solidFill>
                      <a:schemeClr val="tx1">
                        <a:lumMod val="65000"/>
                        <a:lumOff val="35000"/>
                      </a:schemeClr>
                    </a:solidFill>
                    <a:prstDash val="solid"/>
                  </a:ln>
                  <a:solidFill>
                    <a:srgbClr val="C00000"/>
                  </a:solidFill>
                  <a:effectLst>
                    <a:reflection blurRad="12700" stA="28000" endPos="45000" dist="1000" dir="5400000" sy="-100000" algn="bl" rotWithShape="0"/>
                  </a:effectLst>
                  <a:latin typeface="ArialMT"/>
                </a:rPr>
                <a:t>Jasmine devuelve la prueba fallada</a:t>
              </a:r>
            </a:p>
          </p:txBody>
        </p:sp>
      </p:grpSp>
      <p:grpSp>
        <p:nvGrpSpPr>
          <p:cNvPr id="40" name="39 Grupo"/>
          <p:cNvGrpSpPr/>
          <p:nvPr/>
        </p:nvGrpSpPr>
        <p:grpSpPr>
          <a:xfrm>
            <a:off x="4355976" y="2204864"/>
            <a:ext cx="4393560" cy="576064"/>
            <a:chOff x="4355976" y="3068960"/>
            <a:chExt cx="4393560" cy="576064"/>
          </a:xfrm>
        </p:grpSpPr>
        <p:grpSp>
          <p:nvGrpSpPr>
            <p:cNvPr id="33" name="32 Grupo"/>
            <p:cNvGrpSpPr/>
            <p:nvPr/>
          </p:nvGrpSpPr>
          <p:grpSpPr>
            <a:xfrm>
              <a:off x="4355976" y="3068960"/>
              <a:ext cx="2762632" cy="576064"/>
              <a:chOff x="4716016" y="3356992"/>
              <a:chExt cx="2762632" cy="576064"/>
            </a:xfrm>
          </p:grpSpPr>
          <p:sp>
            <p:nvSpPr>
              <p:cNvPr id="29" name="Rectangle 3"/>
              <p:cNvSpPr txBox="1">
                <a:spLocks noChangeArrowheads="1"/>
              </p:cNvSpPr>
              <p:nvPr/>
            </p:nvSpPr>
            <p:spPr>
              <a:xfrm>
                <a:off x="4716016" y="3356992"/>
                <a:ext cx="1296144" cy="576064"/>
              </a:xfrm>
              <a:prstGeom prst="rect">
                <a:avLst/>
              </a:prstGeom>
              <a:noFill/>
              <a:ln w="38100">
                <a:noFill/>
                <a:miter lim="800000"/>
                <a:headEnd/>
                <a:tailEnd/>
              </a:ln>
            </p:spPr>
            <p:txBody>
              <a:bodyPr vert="horz" lIns="144000" tIns="45720" rIns="91440" bIns="45720" rtlCol="0" anchor="ctr">
                <a:noAutofit/>
              </a:bodyPr>
              <a:lstStyle>
                <a:defPPr>
                  <a:defRPr lang="es-ES"/>
                </a:defPPr>
                <a:lvl1pPr indent="0">
                  <a:spcBef>
                    <a:spcPct val="20000"/>
                  </a:spcBef>
                  <a:buFont typeface="Arial" pitchFamily="34" charset="0"/>
                  <a:buNone/>
                  <a:defRPr sz="1400" b="1" cap="all">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cs typeface="Arial" pitchFamily="34" charset="0"/>
                  </a:defRPr>
                </a:lvl1pPr>
                <a:lvl2pPr indent="0">
                  <a:spcBef>
                    <a:spcPct val="20000"/>
                  </a:spcBef>
                  <a:buFont typeface="Arial" pitchFamily="34" charset="0"/>
                  <a:buNone/>
                  <a:defRPr sz="2000" b="1"/>
                </a:lvl2pPr>
                <a:lvl3pPr indent="0">
                  <a:spcBef>
                    <a:spcPct val="20000"/>
                  </a:spcBef>
                  <a:buFont typeface="Arial" pitchFamily="34" charset="0"/>
                  <a:buNone/>
                  <a:defRPr b="1"/>
                </a:lvl3pPr>
                <a:lvl4pPr indent="0">
                  <a:spcBef>
                    <a:spcPct val="20000"/>
                  </a:spcBef>
                  <a:buFont typeface="Arial" pitchFamily="34" charset="0"/>
                  <a:buNone/>
                  <a:defRPr sz="1600" b="1"/>
                </a:lvl4pPr>
                <a:lvl5pPr indent="0">
                  <a:spcBef>
                    <a:spcPct val="20000"/>
                  </a:spcBef>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s-ES" sz="1200" dirty="0">
                    <a:solidFill>
                      <a:schemeClr val="accent5">
                        <a:lumMod val="75000"/>
                      </a:schemeClr>
                    </a:solidFill>
                  </a:rPr>
                  <a:t>Valor retornado</a:t>
                </a:r>
              </a:p>
            </p:txBody>
          </p:sp>
          <p:sp>
            <p:nvSpPr>
              <p:cNvPr id="30" name="Rectangle 3"/>
              <p:cNvSpPr txBox="1">
                <a:spLocks noChangeArrowheads="1"/>
              </p:cNvSpPr>
              <p:nvPr/>
            </p:nvSpPr>
            <p:spPr>
              <a:xfrm>
                <a:off x="6182504" y="3356992"/>
                <a:ext cx="1296144"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1200" b="1" cap="all" dirty="0">
                    <a:ln w="9000" cmpd="sng">
                      <a:solidFill>
                        <a:schemeClr val="tx1">
                          <a:lumMod val="65000"/>
                          <a:lumOff val="35000"/>
                        </a:schemeClr>
                      </a:solidFill>
                      <a:prstDash val="solid"/>
                    </a:ln>
                    <a:solidFill>
                      <a:srgbClr val="4D4D4D"/>
                    </a:solidFill>
                    <a:effectLst>
                      <a:reflection blurRad="12700" stA="28000" endPos="45000" dist="1000" dir="5400000" sy="-100000" algn="bl" rotWithShape="0"/>
                    </a:effectLst>
                    <a:latin typeface="ArialMT"/>
                  </a:rPr>
                  <a:t>Valor de retorno esperado</a:t>
                </a:r>
              </a:p>
            </p:txBody>
          </p:sp>
          <p:sp>
            <p:nvSpPr>
              <p:cNvPr id="31" name="Rectangle 3"/>
              <p:cNvSpPr txBox="1">
                <a:spLocks noChangeArrowheads="1"/>
              </p:cNvSpPr>
              <p:nvPr/>
            </p:nvSpPr>
            <p:spPr>
              <a:xfrm>
                <a:off x="5456416" y="3356992"/>
                <a:ext cx="1296144"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2400" b="1" cap="all" dirty="0">
                    <a:ln w="9000" cmpd="sng">
                      <a:solidFill>
                        <a:schemeClr val="tx1">
                          <a:lumMod val="65000"/>
                          <a:lumOff val="35000"/>
                        </a:schemeClr>
                      </a:solidFill>
                      <a:prstDash val="solid"/>
                    </a:ln>
                    <a:solidFill>
                      <a:schemeClr val="tx2">
                        <a:lumMod val="75000"/>
                      </a:schemeClr>
                    </a:solidFill>
                    <a:effectLst>
                      <a:reflection blurRad="12700" stA="28000" endPos="45000" dist="1000" dir="5400000" sy="-100000" algn="bl" rotWithShape="0"/>
                    </a:effectLst>
                    <a:latin typeface="ArialMT"/>
                  </a:rPr>
                  <a:t>=</a:t>
                </a:r>
              </a:p>
            </p:txBody>
          </p:sp>
        </p:grpSp>
        <p:sp>
          <p:nvSpPr>
            <p:cNvPr id="36" name="35 Forma libre"/>
            <p:cNvSpPr/>
            <p:nvPr/>
          </p:nvSpPr>
          <p:spPr>
            <a:xfrm>
              <a:off x="7020345" y="3242044"/>
              <a:ext cx="196523" cy="229896"/>
            </a:xfrm>
            <a:custGeom>
              <a:avLst/>
              <a:gdLst>
                <a:gd name="connsiteX0" fmla="*/ 0 w 196523"/>
                <a:gd name="connsiteY0" fmla="*/ 45979 h 229896"/>
                <a:gd name="connsiteX1" fmla="*/ 98262 w 196523"/>
                <a:gd name="connsiteY1" fmla="*/ 45979 h 229896"/>
                <a:gd name="connsiteX2" fmla="*/ 98262 w 196523"/>
                <a:gd name="connsiteY2" fmla="*/ 0 h 229896"/>
                <a:gd name="connsiteX3" fmla="*/ 196523 w 196523"/>
                <a:gd name="connsiteY3" fmla="*/ 114948 h 229896"/>
                <a:gd name="connsiteX4" fmla="*/ 98262 w 196523"/>
                <a:gd name="connsiteY4" fmla="*/ 229896 h 229896"/>
                <a:gd name="connsiteX5" fmla="*/ 98262 w 196523"/>
                <a:gd name="connsiteY5" fmla="*/ 183917 h 229896"/>
                <a:gd name="connsiteX6" fmla="*/ 0 w 196523"/>
                <a:gd name="connsiteY6" fmla="*/ 183917 h 229896"/>
                <a:gd name="connsiteX7" fmla="*/ 0 w 196523"/>
                <a:gd name="connsiteY7" fmla="*/ 45979 h 22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23" h="229896">
                  <a:moveTo>
                    <a:pt x="0" y="45979"/>
                  </a:moveTo>
                  <a:lnTo>
                    <a:pt x="98262" y="45979"/>
                  </a:lnTo>
                  <a:lnTo>
                    <a:pt x="98262" y="0"/>
                  </a:lnTo>
                  <a:lnTo>
                    <a:pt x="196523" y="114948"/>
                  </a:lnTo>
                  <a:lnTo>
                    <a:pt x="98262" y="229896"/>
                  </a:lnTo>
                  <a:lnTo>
                    <a:pt x="98262" y="183917"/>
                  </a:lnTo>
                  <a:lnTo>
                    <a:pt x="0" y="183917"/>
                  </a:lnTo>
                  <a:lnTo>
                    <a:pt x="0" y="45979"/>
                  </a:lnTo>
                  <a:close/>
                </a:path>
              </a:pathLst>
            </a:custGeom>
            <a:solidFill>
              <a:srgbClr val="960F68"/>
            </a:solidFill>
          </p:spPr>
          <p:style>
            <a:lnRef idx="0">
              <a:schemeClr val="accent1">
                <a:tint val="60000"/>
                <a:hueOff val="0"/>
                <a:satOff val="0"/>
                <a:lumOff val="0"/>
                <a:alphaOff val="0"/>
              </a:schemeClr>
            </a:lnRef>
            <a:fillRef idx="3">
              <a:scrgbClr r="0" g="0" b="0"/>
            </a:fillRef>
            <a:effectRef idx="3">
              <a:schemeClr val="accent1">
                <a:tint val="60000"/>
                <a:hueOff val="0"/>
                <a:satOff val="0"/>
                <a:lumOff val="0"/>
                <a:alphaOff val="0"/>
              </a:schemeClr>
            </a:effectRef>
            <a:fontRef idx="minor">
              <a:schemeClr val="lt1"/>
            </a:fontRef>
          </p:style>
          <p:txBody>
            <a:bodyPr spcFirstLastPara="0" vert="horz" wrap="square" lIns="0" tIns="45979" rIns="58957" bIns="45979" numCol="1" spcCol="1270" anchor="ctr" anchorCtr="0">
              <a:noAutofit/>
            </a:bodyPr>
            <a:lstStyle/>
            <a:p>
              <a:pPr lvl="0" algn="ctr" defTabSz="400050">
                <a:lnSpc>
                  <a:spcPct val="90000"/>
                </a:lnSpc>
                <a:spcBef>
                  <a:spcPct val="0"/>
                </a:spcBef>
                <a:spcAft>
                  <a:spcPct val="35000"/>
                </a:spcAft>
              </a:pPr>
              <a:endParaRPr lang="es-ES" sz="900" kern="1200"/>
            </a:p>
          </p:txBody>
        </p:sp>
        <p:sp>
          <p:nvSpPr>
            <p:cNvPr id="38" name="Rectangle 3"/>
            <p:cNvSpPr txBox="1">
              <a:spLocks noChangeArrowheads="1"/>
            </p:cNvSpPr>
            <p:nvPr/>
          </p:nvSpPr>
          <p:spPr>
            <a:xfrm>
              <a:off x="7164288" y="3068960"/>
              <a:ext cx="1585248" cy="576064"/>
            </a:xfrm>
            <a:prstGeom prst="rect">
              <a:avLst/>
            </a:prstGeom>
            <a:noFill/>
            <a:ln w="38100">
              <a:noFill/>
              <a:miter lim="800000"/>
              <a:headEnd/>
              <a:tailEnd/>
            </a:ln>
          </p:spPr>
          <p:txBody>
            <a:bodyPr vert="horz" lIns="144000" tIns="45720" rIns="91440" bIns="45720" rtlCol="0" anchor="ctr">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s-ES" sz="1200" b="1" dirty="0">
                  <a:ln w="9000" cmpd="sng">
                    <a:solidFill>
                      <a:schemeClr val="tx1">
                        <a:lumMod val="65000"/>
                        <a:lumOff val="35000"/>
                      </a:schemeClr>
                    </a:solidFill>
                    <a:prstDash val="solid"/>
                  </a:ln>
                  <a:solidFill>
                    <a:schemeClr val="tx2">
                      <a:lumMod val="75000"/>
                    </a:schemeClr>
                  </a:solidFill>
                  <a:effectLst>
                    <a:reflection blurRad="12700" stA="28000" endPos="45000" dist="1000" dir="5400000" sy="-100000" algn="bl" rotWithShape="0"/>
                  </a:effectLst>
                  <a:latin typeface="ArialMT"/>
                </a:rPr>
                <a:t>Jasmine devuelve la prueba aprobada</a:t>
              </a:r>
            </a:p>
          </p:txBody>
        </p:sp>
      </p:grpSp>
      <p:grpSp>
        <p:nvGrpSpPr>
          <p:cNvPr id="113" name="112 Grupo"/>
          <p:cNvGrpSpPr/>
          <p:nvPr/>
        </p:nvGrpSpPr>
        <p:grpSpPr>
          <a:xfrm>
            <a:off x="2627784" y="4153352"/>
            <a:ext cx="5256582" cy="2660024"/>
            <a:chOff x="2627784" y="4153352"/>
            <a:chExt cx="5256582" cy="2660024"/>
          </a:xfrm>
        </p:grpSpPr>
        <p:sp>
          <p:nvSpPr>
            <p:cNvPr id="101" name="100 Forma libre"/>
            <p:cNvSpPr/>
            <p:nvPr/>
          </p:nvSpPr>
          <p:spPr>
            <a:xfrm>
              <a:off x="2627784" y="4153352"/>
              <a:ext cx="842350"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100" kern="1200" dirty="0"/>
                <a:t>Preparación</a:t>
              </a:r>
            </a:p>
          </p:txBody>
        </p:sp>
        <p:sp>
          <p:nvSpPr>
            <p:cNvPr id="102" name="101 Forma libre"/>
            <p:cNvSpPr/>
            <p:nvPr/>
          </p:nvSpPr>
          <p:spPr>
            <a:xfrm>
              <a:off x="3470131" y="4153353"/>
              <a:ext cx="4414235" cy="509144"/>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114300" lvl="1" indent="-114300" algn="l" defTabSz="666750">
                <a:lnSpc>
                  <a:spcPct val="90000"/>
                </a:lnSpc>
                <a:spcBef>
                  <a:spcPct val="0"/>
                </a:spcBef>
                <a:spcAft>
                  <a:spcPct val="15000"/>
                </a:spcAft>
                <a:buChar char="••"/>
              </a:pPr>
              <a:r>
                <a:rPr lang="es-ES" sz="1500" kern="1200" dirty="0">
                  <a:solidFill>
                    <a:schemeClr val="tx1">
                      <a:lumMod val="50000"/>
                      <a:lumOff val="50000"/>
                    </a:schemeClr>
                  </a:solidFill>
                </a:rPr>
                <a:t>Crear los accesorios necesarios para realizar el test</a:t>
              </a:r>
            </a:p>
          </p:txBody>
        </p:sp>
        <p:sp>
          <p:nvSpPr>
            <p:cNvPr id="103" name="102 Forma libre"/>
            <p:cNvSpPr/>
            <p:nvPr/>
          </p:nvSpPr>
          <p:spPr>
            <a:xfrm>
              <a:off x="2627784" y="4778928"/>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2152817"/>
                <a:satOff val="-12689"/>
                <a:lumOff val="-2222"/>
                <a:alphaOff val="0"/>
              </a:schemeClr>
            </a:lnRef>
            <a:fillRef idx="3">
              <a:schemeClr val="accent2">
                <a:hueOff val="2152817"/>
                <a:satOff val="-12689"/>
                <a:lumOff val="-2222"/>
                <a:alphaOff val="0"/>
              </a:schemeClr>
            </a:fillRef>
            <a:effectRef idx="2">
              <a:schemeClr val="accent2">
                <a:hueOff val="2152817"/>
                <a:satOff val="-12689"/>
                <a:lumOff val="-2222"/>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050" kern="1200" dirty="0"/>
                <a:t>Ejecución</a:t>
              </a:r>
            </a:p>
          </p:txBody>
        </p:sp>
        <p:sp>
          <p:nvSpPr>
            <p:cNvPr id="104" name="103 Forma libre"/>
            <p:cNvSpPr/>
            <p:nvPr/>
          </p:nvSpPr>
          <p:spPr>
            <a:xfrm>
              <a:off x="3470131" y="4778928"/>
              <a:ext cx="4414235" cy="509144"/>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2152817"/>
                <a:satOff val="-12689"/>
                <a:lumOff val="-2222"/>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114300" lvl="1" indent="-114300" algn="l" defTabSz="666750">
                <a:lnSpc>
                  <a:spcPct val="90000"/>
                </a:lnSpc>
                <a:spcBef>
                  <a:spcPct val="0"/>
                </a:spcBef>
                <a:spcAft>
                  <a:spcPct val="15000"/>
                </a:spcAft>
                <a:buChar char="••"/>
              </a:pPr>
              <a:r>
                <a:rPr lang="es-ES" sz="1500" kern="1200" dirty="0">
                  <a:solidFill>
                    <a:schemeClr val="tx1">
                      <a:lumMod val="50000"/>
                      <a:lumOff val="50000"/>
                    </a:schemeClr>
                  </a:solidFill>
                </a:rPr>
                <a:t>Ejercitar la clase o componente que queremos probar</a:t>
              </a:r>
            </a:p>
          </p:txBody>
        </p:sp>
        <p:sp>
          <p:nvSpPr>
            <p:cNvPr id="105" name="104 Forma libre"/>
            <p:cNvSpPr/>
            <p:nvPr/>
          </p:nvSpPr>
          <p:spPr>
            <a:xfrm>
              <a:off x="2627784" y="5404503"/>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4305634"/>
                <a:satOff val="-25378"/>
                <a:lumOff val="-4444"/>
                <a:alphaOff val="0"/>
              </a:schemeClr>
            </a:lnRef>
            <a:fillRef idx="3">
              <a:schemeClr val="accent2">
                <a:hueOff val="4305634"/>
                <a:satOff val="-25378"/>
                <a:lumOff val="-4444"/>
                <a:alphaOff val="0"/>
              </a:schemeClr>
            </a:fillRef>
            <a:effectRef idx="2">
              <a:schemeClr val="accent2">
                <a:hueOff val="4305634"/>
                <a:satOff val="-25378"/>
                <a:lumOff val="-4444"/>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100" kern="1200" dirty="0"/>
                <a:t>Verificación</a:t>
              </a:r>
            </a:p>
          </p:txBody>
        </p:sp>
        <p:sp>
          <p:nvSpPr>
            <p:cNvPr id="106" name="105 Forma libre"/>
            <p:cNvSpPr/>
            <p:nvPr/>
          </p:nvSpPr>
          <p:spPr>
            <a:xfrm>
              <a:off x="3470131" y="5404504"/>
              <a:ext cx="4414235" cy="509144"/>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4305634"/>
                <a:satOff val="-25378"/>
                <a:lumOff val="-4444"/>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114300" lvl="1" indent="-114300" algn="l" defTabSz="666750">
                <a:lnSpc>
                  <a:spcPct val="90000"/>
                </a:lnSpc>
                <a:spcBef>
                  <a:spcPct val="0"/>
                </a:spcBef>
                <a:spcAft>
                  <a:spcPct val="15000"/>
                </a:spcAft>
                <a:buChar char="••"/>
              </a:pPr>
              <a:r>
                <a:rPr lang="es-ES" sz="1500" kern="1200" dirty="0">
                  <a:solidFill>
                    <a:schemeClr val="tx1">
                      <a:lumMod val="50000"/>
                      <a:lumOff val="50000"/>
                    </a:schemeClr>
                  </a:solidFill>
                </a:rPr>
                <a:t>Comprobar que la ejecución ha sido correcta</a:t>
              </a:r>
            </a:p>
          </p:txBody>
        </p:sp>
        <p:sp>
          <p:nvSpPr>
            <p:cNvPr id="107" name="106 Forma libre"/>
            <p:cNvSpPr/>
            <p:nvPr/>
          </p:nvSpPr>
          <p:spPr>
            <a:xfrm>
              <a:off x="2627784" y="6030078"/>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6458451"/>
                <a:satOff val="-38067"/>
                <a:lumOff val="-6666"/>
                <a:alphaOff val="0"/>
              </a:schemeClr>
            </a:lnRef>
            <a:fillRef idx="3">
              <a:schemeClr val="accent2">
                <a:hueOff val="6458451"/>
                <a:satOff val="-38067"/>
                <a:lumOff val="-6666"/>
                <a:alphaOff val="0"/>
              </a:schemeClr>
            </a:fillRef>
            <a:effectRef idx="2">
              <a:schemeClr val="accent2">
                <a:hueOff val="6458451"/>
                <a:satOff val="-38067"/>
                <a:lumOff val="-6666"/>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200" kern="1200" dirty="0"/>
                <a:t>Limpieza</a:t>
              </a:r>
            </a:p>
          </p:txBody>
        </p:sp>
        <p:sp>
          <p:nvSpPr>
            <p:cNvPr id="108" name="107 Forma libre"/>
            <p:cNvSpPr/>
            <p:nvPr/>
          </p:nvSpPr>
          <p:spPr>
            <a:xfrm>
              <a:off x="3470131" y="6030079"/>
              <a:ext cx="4414235" cy="509144"/>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6458451"/>
                <a:satOff val="-38067"/>
                <a:lumOff val="-6666"/>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114300" lvl="1" indent="-114300" algn="l" defTabSz="666750">
                <a:lnSpc>
                  <a:spcPct val="90000"/>
                </a:lnSpc>
                <a:spcBef>
                  <a:spcPct val="0"/>
                </a:spcBef>
                <a:spcAft>
                  <a:spcPct val="15000"/>
                </a:spcAft>
                <a:buChar char="••"/>
              </a:pPr>
              <a:r>
                <a:rPr lang="es-ES" sz="1500" kern="1200" dirty="0">
                  <a:solidFill>
                    <a:schemeClr val="tx1">
                      <a:lumMod val="50000"/>
                      <a:lumOff val="50000"/>
                    </a:schemeClr>
                  </a:solidFill>
                </a:rPr>
                <a:t>Eliminar los accesorios utilizados</a:t>
              </a:r>
            </a:p>
          </p:txBody>
        </p:sp>
      </p:grpSp>
      <p:sp>
        <p:nvSpPr>
          <p:cNvPr id="110" name="109 Cerrar llave"/>
          <p:cNvSpPr/>
          <p:nvPr/>
        </p:nvSpPr>
        <p:spPr>
          <a:xfrm flipH="1">
            <a:off x="2292480" y="4123066"/>
            <a:ext cx="335303" cy="2618302"/>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sp>
        <p:nvSpPr>
          <p:cNvPr id="111" name="Rectangle 3"/>
          <p:cNvSpPr txBox="1">
            <a:spLocks noChangeArrowheads="1"/>
          </p:cNvSpPr>
          <p:nvPr/>
        </p:nvSpPr>
        <p:spPr>
          <a:xfrm>
            <a:off x="539552" y="5170577"/>
            <a:ext cx="1623885" cy="576064"/>
          </a:xfrm>
          <a:prstGeom prst="rect">
            <a:avLst/>
          </a:prstGeom>
          <a:noFill/>
          <a:ln w="38100">
            <a:noFill/>
            <a:miter lim="800000"/>
            <a:headEnd/>
            <a:tailEnd/>
          </a:ln>
        </p:spPr>
        <p:txBody>
          <a:bodyPr vert="horz" lIns="144000" tIns="45720" rIns="91440" bIns="45720" rtlCol="0" anchor="t">
            <a:noAutofit/>
          </a:bodyPr>
          <a:lstStyle>
            <a:lvl1pPr marL="0" indent="0" algn="l" defTabSz="914400" rtl="0" eaLnBrk="1" latinLnBrk="0" hangingPunct="1">
              <a:spcBef>
                <a:spcPct val="20000"/>
              </a:spcBef>
              <a:buFont typeface="Arial" pitchFamily="34" charset="0"/>
              <a:buNone/>
              <a:defRPr sz="1600" b="0" kern="1200">
                <a:solidFill>
                  <a:schemeClr val="bg2"/>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lvl="0" algn="ctr">
              <a:spcAft>
                <a:spcPts val="600"/>
              </a:spcAft>
            </a:pPr>
            <a:r>
              <a:rPr lang="es-ES" b="1" dirty="0">
                <a:solidFill>
                  <a:srgbClr val="000000">
                    <a:lumMod val="50000"/>
                    <a:lumOff val="50000"/>
                  </a:srgbClr>
                </a:solidFill>
              </a:rPr>
              <a:t>estructura de un caso de prueba</a:t>
            </a:r>
            <a:endParaRPr lang="es-ES" dirty="0">
              <a:solidFill>
                <a:srgbClr val="737373"/>
              </a:solidFill>
            </a:endParaRPr>
          </a:p>
        </p:txBody>
      </p:sp>
    </p:spTree>
    <p:extLst>
      <p:ext uri="{BB962C8B-B14F-4D97-AF65-F5344CB8AC3E}">
        <p14:creationId xmlns:p14="http://schemas.microsoft.com/office/powerpoint/2010/main" val="3052680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11"/>
                                        </p:tgtEl>
                                        <p:attrNameLst>
                                          <p:attrName>style.visibility</p:attrName>
                                        </p:attrNameLst>
                                      </p:cBhvr>
                                      <p:to>
                                        <p:strVal val="visible"/>
                                      </p:to>
                                    </p:set>
                                    <p:animEffect transition="in" filter="fade">
                                      <p:cBhvr>
                                        <p:cTn id="43" dur="500"/>
                                        <p:tgtEl>
                                          <p:spTgt spid="11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10"/>
                                        </p:tgtEl>
                                        <p:attrNameLst>
                                          <p:attrName>style.visibility</p:attrName>
                                        </p:attrNameLst>
                                      </p:cBhvr>
                                      <p:to>
                                        <p:strVal val="visible"/>
                                      </p:to>
                                    </p:set>
                                    <p:animEffect transition="in" filter="fade">
                                      <p:cBhvr>
                                        <p:cTn id="48" dur="500"/>
                                        <p:tgtEl>
                                          <p:spTgt spid="110"/>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13"/>
                                        </p:tgtEl>
                                        <p:attrNameLst>
                                          <p:attrName>style.visibility</p:attrName>
                                        </p:attrNameLst>
                                      </p:cBhvr>
                                      <p:to>
                                        <p:strVal val="visible"/>
                                      </p:to>
                                    </p:set>
                                    <p:animEffect transition="in" filter="fade">
                                      <p:cBhvr>
                                        <p:cTn id="52"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34" grpId="0" animBg="1"/>
      <p:bldP spid="110" grpId="0" animBg="1"/>
      <p:bldP spid="1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Jasmine y Karma </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conceptos básicos</a:t>
            </a:r>
          </a:p>
        </p:txBody>
      </p:sp>
      <p:sp>
        <p:nvSpPr>
          <p:cNvPr id="10" name="3 Marcador de contenido"/>
          <p:cNvSpPr>
            <a:spLocks noGrp="1"/>
          </p:cNvSpPr>
          <p:nvPr>
            <p:ph sz="half" idx="2"/>
          </p:nvPr>
        </p:nvSpPr>
        <p:spPr>
          <a:xfrm>
            <a:off x="395536" y="2276872"/>
            <a:ext cx="8136904" cy="4680520"/>
          </a:xfrm>
        </p:spPr>
        <p:txBody>
          <a:bodyPr tIns="0" bIns="0">
            <a:norm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lgn="just">
              <a:spcAft>
                <a:spcPts val="600"/>
              </a:spcAft>
            </a:pPr>
            <a:r>
              <a:rPr lang="es-ES" sz="1600" b="1" dirty="0"/>
              <a:t>Tipos de funciones</a:t>
            </a:r>
          </a:p>
          <a:p>
            <a:pPr algn="just">
              <a:spcAft>
                <a:spcPts val="2400"/>
              </a:spcAft>
            </a:pPr>
            <a:r>
              <a:rPr lang="es-ES" sz="1600" dirty="0"/>
              <a:t>La clase de Jasmine para realizar el Test tiene los siguientes tipos de funciones:</a:t>
            </a:r>
          </a:p>
          <a:p>
            <a:pPr algn="just">
              <a:spcAft>
                <a:spcPts val="600"/>
              </a:spcAft>
            </a:pPr>
            <a:endParaRPr lang="es-ES" sz="1600" dirty="0"/>
          </a:p>
          <a:p>
            <a:pPr algn="just">
              <a:spcAft>
                <a:spcPts val="600"/>
              </a:spcAft>
            </a:pPr>
            <a:endParaRPr lang="es-ES" sz="1600" dirty="0"/>
          </a:p>
          <a:p>
            <a:pPr algn="just">
              <a:spcAft>
                <a:spcPts val="600"/>
              </a:spcAft>
            </a:pPr>
            <a:endParaRPr lang="es-ES" sz="1600" dirty="0"/>
          </a:p>
          <a:p>
            <a:pPr algn="just">
              <a:spcAft>
                <a:spcPts val="600"/>
              </a:spcAft>
            </a:pPr>
            <a:endParaRPr lang="es-ES" sz="1600" dirty="0"/>
          </a:p>
          <a:p>
            <a:pPr algn="just">
              <a:spcAft>
                <a:spcPts val="600"/>
              </a:spcAft>
            </a:pPr>
            <a:endParaRPr lang="es-ES" sz="1600" dirty="0"/>
          </a:p>
          <a:p>
            <a:pPr marL="1531938" indent="-285750" algn="just">
              <a:spcAft>
                <a:spcPts val="600"/>
              </a:spcAft>
              <a:buFont typeface="Wingdings" pitchFamily="2" charset="2"/>
              <a:buChar char="Ø"/>
            </a:pPr>
            <a:endParaRPr lang="es-ES" sz="1600" dirty="0"/>
          </a:p>
          <a:p>
            <a:pPr marL="1531938" indent="-285750" algn="just">
              <a:spcAft>
                <a:spcPts val="600"/>
              </a:spcAft>
              <a:buFont typeface="Wingdings" pitchFamily="2" charset="2"/>
              <a:buChar char="Ø"/>
            </a:pPr>
            <a:endParaRPr lang="es-ES" sz="1600" dirty="0"/>
          </a:p>
          <a:p>
            <a:pPr marL="1531938" indent="-285750" algn="just">
              <a:spcAft>
                <a:spcPts val="600"/>
              </a:spcAft>
              <a:buFont typeface="Wingdings" pitchFamily="2" charset="2"/>
              <a:buChar char="Ø"/>
            </a:pPr>
            <a:endParaRPr lang="es-ES" sz="1600" dirty="0"/>
          </a:p>
          <a:p>
            <a:pPr marL="1531938" indent="-285750" algn="just">
              <a:spcAft>
                <a:spcPts val="600"/>
              </a:spcAft>
              <a:buFont typeface="Wingdings" pitchFamily="2" charset="2"/>
              <a:buChar char="Ø"/>
            </a:pPr>
            <a:endParaRPr lang="es-ES" sz="1600" dirty="0"/>
          </a:p>
        </p:txBody>
      </p:sp>
      <p:sp>
        <p:nvSpPr>
          <p:cNvPr id="8" name="7 Forma libre"/>
          <p:cNvSpPr/>
          <p:nvPr/>
        </p:nvSpPr>
        <p:spPr>
          <a:xfrm>
            <a:off x="1321614" y="4869160"/>
            <a:ext cx="6912768" cy="509144"/>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2152817"/>
              <a:satOff val="-12689"/>
              <a:lumOff val="-2222"/>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285750" lvl="0" indent="-285750" algn="just">
              <a:spcBef>
                <a:spcPct val="20000"/>
              </a:spcBef>
              <a:spcAft>
                <a:spcPts val="600"/>
              </a:spcAft>
              <a:buFont typeface="Wingdings" pitchFamily="2" charset="2"/>
              <a:buChar char="Ø"/>
            </a:pPr>
            <a:r>
              <a:rPr lang="es-ES" sz="1600" b="1" dirty="0" err="1">
                <a:solidFill>
                  <a:srgbClr val="737373"/>
                </a:solidFill>
                <a:latin typeface="Arial" pitchFamily="34" charset="0"/>
                <a:cs typeface="Arial" pitchFamily="34" charset="0"/>
              </a:rPr>
              <a:t>it</a:t>
            </a:r>
            <a:r>
              <a:rPr lang="es-ES" sz="1600" dirty="0">
                <a:solidFill>
                  <a:srgbClr val="737373"/>
                </a:solidFill>
                <a:latin typeface="Arial" pitchFamily="34" charset="0"/>
                <a:cs typeface="Arial" pitchFamily="34" charset="0"/>
              </a:rPr>
              <a:t>: Es la declaración de una prueba unitaria, la cual pertenece a una </a:t>
            </a:r>
            <a:r>
              <a:rPr lang="es-ES" sz="1600" dirty="0" err="1">
                <a:solidFill>
                  <a:srgbClr val="737373"/>
                </a:solidFill>
                <a:latin typeface="Arial" pitchFamily="34" charset="0"/>
                <a:cs typeface="Arial" pitchFamily="34" charset="0"/>
              </a:rPr>
              <a:t>suit</a:t>
            </a:r>
            <a:r>
              <a:rPr lang="es-ES" sz="1600" dirty="0">
                <a:solidFill>
                  <a:srgbClr val="737373"/>
                </a:solidFill>
                <a:latin typeface="Arial" pitchFamily="34" charset="0"/>
                <a:cs typeface="Arial" pitchFamily="34" charset="0"/>
              </a:rPr>
              <a:t> de pruebas (describe).</a:t>
            </a:r>
          </a:p>
        </p:txBody>
      </p:sp>
      <p:sp>
        <p:nvSpPr>
          <p:cNvPr id="5" name="4 Forma libre"/>
          <p:cNvSpPr/>
          <p:nvPr/>
        </p:nvSpPr>
        <p:spPr>
          <a:xfrm>
            <a:off x="467544" y="3293774"/>
            <a:ext cx="842350"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100" kern="1200" dirty="0"/>
              <a:t>Preparación</a:t>
            </a:r>
          </a:p>
        </p:txBody>
      </p:sp>
      <p:sp>
        <p:nvSpPr>
          <p:cNvPr id="7" name="6 Forma libre"/>
          <p:cNvSpPr/>
          <p:nvPr/>
        </p:nvSpPr>
        <p:spPr>
          <a:xfrm>
            <a:off x="479265" y="4572426"/>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2152817"/>
              <a:satOff val="-12689"/>
              <a:lumOff val="-2222"/>
              <a:alphaOff val="0"/>
            </a:schemeClr>
          </a:lnRef>
          <a:fillRef idx="3">
            <a:schemeClr val="accent2">
              <a:hueOff val="2152817"/>
              <a:satOff val="-12689"/>
              <a:lumOff val="-2222"/>
              <a:alphaOff val="0"/>
            </a:schemeClr>
          </a:fillRef>
          <a:effectRef idx="2">
            <a:schemeClr val="accent2">
              <a:hueOff val="2152817"/>
              <a:satOff val="-12689"/>
              <a:lumOff val="-2222"/>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050" kern="1200" dirty="0"/>
              <a:t>Ejecución</a:t>
            </a:r>
          </a:p>
        </p:txBody>
      </p:sp>
      <p:sp>
        <p:nvSpPr>
          <p:cNvPr id="9" name="8 Forma libre"/>
          <p:cNvSpPr/>
          <p:nvPr/>
        </p:nvSpPr>
        <p:spPr>
          <a:xfrm>
            <a:off x="479265" y="5093974"/>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4305634"/>
              <a:satOff val="-25378"/>
              <a:lumOff val="-4444"/>
              <a:alphaOff val="0"/>
            </a:schemeClr>
          </a:lnRef>
          <a:fillRef idx="3">
            <a:schemeClr val="accent2">
              <a:hueOff val="4305634"/>
              <a:satOff val="-25378"/>
              <a:lumOff val="-4444"/>
              <a:alphaOff val="0"/>
            </a:schemeClr>
          </a:fillRef>
          <a:effectRef idx="2">
            <a:schemeClr val="accent2">
              <a:hueOff val="4305634"/>
              <a:satOff val="-25378"/>
              <a:lumOff val="-4444"/>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100" kern="1200" dirty="0"/>
              <a:t>Verificación</a:t>
            </a:r>
          </a:p>
        </p:txBody>
      </p:sp>
      <p:sp>
        <p:nvSpPr>
          <p:cNvPr id="11" name="10 Forma libre"/>
          <p:cNvSpPr/>
          <p:nvPr/>
        </p:nvSpPr>
        <p:spPr>
          <a:xfrm>
            <a:off x="467568" y="5886062"/>
            <a:ext cx="842349" cy="783298"/>
          </a:xfrm>
          <a:custGeom>
            <a:avLst/>
            <a:gdLst>
              <a:gd name="connsiteX0" fmla="*/ 0 w 783297"/>
              <a:gd name="connsiteY0" fmla="*/ 0 h 548308"/>
              <a:gd name="connsiteX1" fmla="*/ 509143 w 783297"/>
              <a:gd name="connsiteY1" fmla="*/ 0 h 548308"/>
              <a:gd name="connsiteX2" fmla="*/ 783297 w 783297"/>
              <a:gd name="connsiteY2" fmla="*/ 274154 h 548308"/>
              <a:gd name="connsiteX3" fmla="*/ 509143 w 783297"/>
              <a:gd name="connsiteY3" fmla="*/ 548308 h 548308"/>
              <a:gd name="connsiteX4" fmla="*/ 0 w 783297"/>
              <a:gd name="connsiteY4" fmla="*/ 548308 h 548308"/>
              <a:gd name="connsiteX5" fmla="*/ 274154 w 783297"/>
              <a:gd name="connsiteY5" fmla="*/ 274154 h 548308"/>
              <a:gd name="connsiteX6" fmla="*/ 0 w 783297"/>
              <a:gd name="connsiteY6" fmla="*/ 0 h 5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297" h="548308">
                <a:moveTo>
                  <a:pt x="783296" y="0"/>
                </a:moveTo>
                <a:lnTo>
                  <a:pt x="783296" y="356400"/>
                </a:lnTo>
                <a:lnTo>
                  <a:pt x="391649" y="548308"/>
                </a:lnTo>
                <a:lnTo>
                  <a:pt x="1" y="356400"/>
                </a:lnTo>
                <a:lnTo>
                  <a:pt x="1" y="0"/>
                </a:lnTo>
                <a:lnTo>
                  <a:pt x="391649" y="191908"/>
                </a:lnTo>
                <a:lnTo>
                  <a:pt x="783296" y="0"/>
                </a:lnTo>
                <a:close/>
              </a:path>
            </a:pathLst>
          </a:custGeom>
          <a:scene3d>
            <a:camera prst="orthographicFront"/>
            <a:lightRig rig="flat" dir="t"/>
          </a:scene3d>
          <a:sp3d prstMaterial="plastic">
            <a:bevelT w="120900" h="88900"/>
            <a:bevelB w="88900" h="31750" prst="angle"/>
          </a:sp3d>
        </p:spPr>
        <p:style>
          <a:lnRef idx="1">
            <a:schemeClr val="accent2">
              <a:hueOff val="6458451"/>
              <a:satOff val="-38067"/>
              <a:lumOff val="-6666"/>
              <a:alphaOff val="0"/>
            </a:schemeClr>
          </a:lnRef>
          <a:fillRef idx="3">
            <a:schemeClr val="accent2">
              <a:hueOff val="6458451"/>
              <a:satOff val="-38067"/>
              <a:lumOff val="-6666"/>
              <a:alphaOff val="0"/>
            </a:schemeClr>
          </a:fillRef>
          <a:effectRef idx="2">
            <a:schemeClr val="accent2">
              <a:hueOff val="6458451"/>
              <a:satOff val="-38067"/>
              <a:lumOff val="-6666"/>
              <a:alphaOff val="0"/>
            </a:schemeClr>
          </a:effectRef>
          <a:fontRef idx="minor">
            <a:schemeClr val="lt1"/>
          </a:fontRef>
        </p:style>
        <p:txBody>
          <a:bodyPr spcFirstLastPara="0" vert="horz" wrap="square" lIns="5081" tIns="279234" rIns="5080" bIns="279235" numCol="1" spcCol="1270" anchor="ctr" anchorCtr="0">
            <a:noAutofit/>
          </a:bodyPr>
          <a:lstStyle/>
          <a:p>
            <a:pPr lvl="0" algn="ctr" defTabSz="355600">
              <a:lnSpc>
                <a:spcPct val="90000"/>
              </a:lnSpc>
              <a:spcBef>
                <a:spcPct val="0"/>
              </a:spcBef>
              <a:spcAft>
                <a:spcPct val="35000"/>
              </a:spcAft>
            </a:pPr>
            <a:r>
              <a:rPr lang="es-ES" sz="1200" kern="1200" dirty="0"/>
              <a:t>Limpieza</a:t>
            </a:r>
          </a:p>
        </p:txBody>
      </p:sp>
      <p:sp>
        <p:nvSpPr>
          <p:cNvPr id="6" name="5 Forma libre"/>
          <p:cNvSpPr/>
          <p:nvPr/>
        </p:nvSpPr>
        <p:spPr>
          <a:xfrm>
            <a:off x="1321614" y="2996951"/>
            <a:ext cx="6912768" cy="1494676"/>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285750" lvl="0" indent="-285750" algn="just">
              <a:spcBef>
                <a:spcPct val="20000"/>
              </a:spcBef>
              <a:spcAft>
                <a:spcPts val="300"/>
              </a:spcAft>
              <a:buFont typeface="Wingdings" pitchFamily="2" charset="2"/>
              <a:buChar char="Ø"/>
            </a:pPr>
            <a:r>
              <a:rPr lang="es-ES" sz="1500" b="1" dirty="0">
                <a:solidFill>
                  <a:srgbClr val="737373"/>
                </a:solidFill>
                <a:latin typeface="Arial" pitchFamily="34" charset="0"/>
                <a:cs typeface="Arial" pitchFamily="34" charset="0"/>
              </a:rPr>
              <a:t>describe: </a:t>
            </a:r>
            <a:r>
              <a:rPr lang="es-ES" sz="1500" dirty="0">
                <a:solidFill>
                  <a:srgbClr val="737373"/>
                </a:solidFill>
                <a:latin typeface="Arial" pitchFamily="34" charset="0"/>
                <a:cs typeface="Arial" pitchFamily="34" charset="0"/>
              </a:rPr>
              <a:t>Para agrupar los test relacionados a una misma función o componente (</a:t>
            </a:r>
            <a:r>
              <a:rPr lang="es-ES" sz="1500" dirty="0" err="1">
                <a:solidFill>
                  <a:srgbClr val="737373"/>
                </a:solidFill>
                <a:latin typeface="Arial" pitchFamily="34" charset="0"/>
                <a:cs typeface="Arial" pitchFamily="34" charset="0"/>
              </a:rPr>
              <a:t>suit</a:t>
            </a:r>
            <a:r>
              <a:rPr lang="es-ES" sz="1500" dirty="0">
                <a:solidFill>
                  <a:srgbClr val="737373"/>
                </a:solidFill>
                <a:latin typeface="Arial" pitchFamily="34" charset="0"/>
                <a:cs typeface="Arial" pitchFamily="34" charset="0"/>
              </a:rPr>
              <a:t> de pruebas).</a:t>
            </a:r>
            <a:endParaRPr lang="es-ES" sz="1500" b="1" dirty="0">
              <a:solidFill>
                <a:srgbClr val="737373"/>
              </a:solidFill>
              <a:latin typeface="Arial" pitchFamily="34" charset="0"/>
              <a:cs typeface="Arial" pitchFamily="34" charset="0"/>
            </a:endParaRPr>
          </a:p>
          <a:p>
            <a:pPr marL="285750" lvl="0" indent="-285750" algn="just">
              <a:spcBef>
                <a:spcPct val="20000"/>
              </a:spcBef>
              <a:spcAft>
                <a:spcPts val="300"/>
              </a:spcAft>
              <a:buFont typeface="Wingdings" pitchFamily="2" charset="2"/>
              <a:buChar char="Ø"/>
            </a:pPr>
            <a:r>
              <a:rPr lang="es-ES" sz="1500" b="1" dirty="0" err="1">
                <a:solidFill>
                  <a:srgbClr val="737373"/>
                </a:solidFill>
                <a:latin typeface="Arial" pitchFamily="34" charset="0"/>
                <a:cs typeface="Arial" pitchFamily="34" charset="0"/>
              </a:rPr>
              <a:t>beforeEach</a:t>
            </a:r>
            <a:r>
              <a:rPr lang="es-ES" sz="1500" dirty="0">
                <a:solidFill>
                  <a:srgbClr val="737373"/>
                </a:solidFill>
                <a:latin typeface="Arial" pitchFamily="34" charset="0"/>
                <a:cs typeface="Arial" pitchFamily="34" charset="0"/>
              </a:rPr>
              <a:t>: Para crear los accesorios necesarios antes de la ejecución de cada test, por ejemplo asignar valores iniciales. </a:t>
            </a:r>
          </a:p>
          <a:p>
            <a:pPr marL="285750" lvl="0" indent="-285750" algn="just">
              <a:spcAft>
                <a:spcPts val="600"/>
              </a:spcAft>
              <a:buFont typeface="Wingdings" pitchFamily="2" charset="2"/>
              <a:buChar char="Ø"/>
            </a:pPr>
            <a:r>
              <a:rPr lang="es-ES" sz="1500" b="1" dirty="0" err="1">
                <a:solidFill>
                  <a:srgbClr val="737373"/>
                </a:solidFill>
                <a:latin typeface="Arial" pitchFamily="34" charset="0"/>
                <a:cs typeface="Arial" pitchFamily="34" charset="0"/>
              </a:rPr>
              <a:t>beforeAll</a:t>
            </a:r>
            <a:r>
              <a:rPr lang="es-ES" sz="1500" dirty="0">
                <a:solidFill>
                  <a:srgbClr val="737373"/>
                </a:solidFill>
                <a:latin typeface="Arial" pitchFamily="34" charset="0"/>
                <a:cs typeface="Arial" pitchFamily="34" charset="0"/>
              </a:rPr>
              <a:t>: Para crear los accesorios utilizados por varias pruebas, que van a ser creados solo una vez: antes de empezar los test. </a:t>
            </a:r>
          </a:p>
        </p:txBody>
      </p:sp>
      <p:sp>
        <p:nvSpPr>
          <p:cNvPr id="12" name="11 Forma libre"/>
          <p:cNvSpPr/>
          <p:nvPr/>
        </p:nvSpPr>
        <p:spPr>
          <a:xfrm>
            <a:off x="1309915" y="5661249"/>
            <a:ext cx="6924467" cy="1080119"/>
          </a:xfrm>
          <a:custGeom>
            <a:avLst/>
            <a:gdLst>
              <a:gd name="connsiteX0" fmla="*/ 84859 w 509143"/>
              <a:gd name="connsiteY0" fmla="*/ 0 h 4414234"/>
              <a:gd name="connsiteX1" fmla="*/ 424284 w 509143"/>
              <a:gd name="connsiteY1" fmla="*/ 0 h 4414234"/>
              <a:gd name="connsiteX2" fmla="*/ 509143 w 509143"/>
              <a:gd name="connsiteY2" fmla="*/ 84859 h 4414234"/>
              <a:gd name="connsiteX3" fmla="*/ 509143 w 509143"/>
              <a:gd name="connsiteY3" fmla="*/ 4414234 h 4414234"/>
              <a:gd name="connsiteX4" fmla="*/ 509143 w 509143"/>
              <a:gd name="connsiteY4" fmla="*/ 4414234 h 4414234"/>
              <a:gd name="connsiteX5" fmla="*/ 0 w 509143"/>
              <a:gd name="connsiteY5" fmla="*/ 4414234 h 4414234"/>
              <a:gd name="connsiteX6" fmla="*/ 0 w 509143"/>
              <a:gd name="connsiteY6" fmla="*/ 4414234 h 4414234"/>
              <a:gd name="connsiteX7" fmla="*/ 0 w 509143"/>
              <a:gd name="connsiteY7" fmla="*/ 84859 h 4414234"/>
              <a:gd name="connsiteX8" fmla="*/ 84859 w 509143"/>
              <a:gd name="connsiteY8" fmla="*/ 0 h 44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143" h="4414234">
                <a:moveTo>
                  <a:pt x="509143" y="735724"/>
                </a:moveTo>
                <a:lnTo>
                  <a:pt x="509143" y="3678510"/>
                </a:lnTo>
                <a:cubicBezTo>
                  <a:pt x="509143" y="4084834"/>
                  <a:pt x="504761" y="4414230"/>
                  <a:pt x="499355" y="4414230"/>
                </a:cubicBezTo>
                <a:lnTo>
                  <a:pt x="0" y="4414230"/>
                </a:lnTo>
                <a:lnTo>
                  <a:pt x="0" y="4414230"/>
                </a:lnTo>
                <a:lnTo>
                  <a:pt x="0" y="4"/>
                </a:lnTo>
                <a:lnTo>
                  <a:pt x="0" y="4"/>
                </a:lnTo>
                <a:lnTo>
                  <a:pt x="499355" y="4"/>
                </a:lnTo>
                <a:cubicBezTo>
                  <a:pt x="504761" y="4"/>
                  <a:pt x="509143" y="329400"/>
                  <a:pt x="509143" y="735724"/>
                </a:cubicBezTo>
                <a:close/>
              </a:path>
            </a:pathLst>
          </a:custGeom>
          <a:scene3d>
            <a:camera prst="orthographicFront"/>
            <a:lightRig rig="flat" dir="t"/>
          </a:scene3d>
          <a:sp3d extrusionH="12700" prstMaterial="plastic">
            <a:bevelT w="50800" h="50800"/>
          </a:sp3d>
        </p:spPr>
        <p:style>
          <a:lnRef idx="1">
            <a:schemeClr val="accent2">
              <a:hueOff val="6458451"/>
              <a:satOff val="-38067"/>
              <a:lumOff val="-6666"/>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6681" tIns="34379" rIns="34379" bIns="34380" numCol="1" spcCol="1270" anchor="ctr" anchorCtr="0">
            <a:noAutofit/>
          </a:bodyPr>
          <a:lstStyle/>
          <a:p>
            <a:pPr marL="285750" lvl="0" indent="-285750" algn="just">
              <a:spcBef>
                <a:spcPct val="20000"/>
              </a:spcBef>
              <a:spcAft>
                <a:spcPts val="300"/>
              </a:spcAft>
              <a:buFont typeface="Wingdings" pitchFamily="2" charset="2"/>
              <a:buChar char="Ø"/>
            </a:pPr>
            <a:r>
              <a:rPr lang="es-ES" sz="1600" b="1" dirty="0" err="1">
                <a:solidFill>
                  <a:srgbClr val="737373"/>
                </a:solidFill>
                <a:latin typeface="Arial" pitchFamily="34" charset="0"/>
                <a:cs typeface="Arial" pitchFamily="34" charset="0"/>
              </a:rPr>
              <a:t>afterEach</a:t>
            </a:r>
            <a:r>
              <a:rPr lang="es-ES" sz="1600" dirty="0">
                <a:solidFill>
                  <a:srgbClr val="737373"/>
                </a:solidFill>
                <a:latin typeface="Arial" pitchFamily="34" charset="0"/>
                <a:cs typeface="Arial" pitchFamily="34" charset="0"/>
              </a:rPr>
              <a:t>: Es llamado después de cada test y puede servir para liberar recursos o similar. </a:t>
            </a:r>
          </a:p>
          <a:p>
            <a:pPr marL="285750" lvl="0" indent="-285750" algn="just">
              <a:spcAft>
                <a:spcPts val="600"/>
              </a:spcAft>
              <a:buFont typeface="Wingdings" pitchFamily="2" charset="2"/>
              <a:buChar char="Ø"/>
            </a:pPr>
            <a:r>
              <a:rPr lang="es-ES" sz="1600" b="1" dirty="0" err="1">
                <a:solidFill>
                  <a:srgbClr val="737373"/>
                </a:solidFill>
                <a:latin typeface="Arial" pitchFamily="34" charset="0"/>
                <a:cs typeface="Arial" pitchFamily="34" charset="0"/>
              </a:rPr>
              <a:t>afterAll</a:t>
            </a:r>
            <a:r>
              <a:rPr lang="es-ES" sz="1600" dirty="0">
                <a:solidFill>
                  <a:srgbClr val="737373"/>
                </a:solidFill>
                <a:latin typeface="Arial" pitchFamily="34" charset="0"/>
                <a:cs typeface="Arial" pitchFamily="34" charset="0"/>
              </a:rPr>
              <a:t>: Igual que antes, si queremos que sólo se llame al final de la ejecución de todos los test.</a:t>
            </a:r>
          </a:p>
        </p:txBody>
      </p:sp>
    </p:spTree>
    <p:extLst>
      <p:ext uri="{BB962C8B-B14F-4D97-AF65-F5344CB8AC3E}">
        <p14:creationId xmlns:p14="http://schemas.microsoft.com/office/powerpoint/2010/main" val="379101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fade">
                                      <p:cBhvr>
                                        <p:cTn id="11" dur="500"/>
                                        <p:tgtEl>
                                          <p:spTgt spid="10">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7" grpId="0" animBg="1"/>
      <p:bldP spid="9" grpId="0" animBg="1"/>
      <p:bldP spid="11" grpId="0" animBg="1"/>
      <p:bldP spid="6"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_tradnl" dirty="0"/>
              <a:t>Conociendo Jasmine y Karma </a:t>
            </a:r>
            <a:endParaRPr lang="es-CL" dirty="0"/>
          </a:p>
        </p:txBody>
      </p:sp>
      <p:sp>
        <p:nvSpPr>
          <p:cNvPr id="3" name="Marcador de texto 2"/>
          <p:cNvSpPr>
            <a:spLocks noGrp="1"/>
          </p:cNvSpPr>
          <p:nvPr>
            <p:ph type="body" idx="1"/>
          </p:nvPr>
        </p:nvSpPr>
        <p:spPr/>
        <p:txBody>
          <a:bodyPr/>
          <a:lstStyle/>
          <a:p>
            <a:r>
              <a:rPr lang="es-ES" dirty="0"/>
              <a:t>conceptos básicos</a:t>
            </a:r>
          </a:p>
          <a:p>
            <a:endParaRPr lang="es-CL" dirty="0"/>
          </a:p>
        </p:txBody>
      </p:sp>
      <p:sp>
        <p:nvSpPr>
          <p:cNvPr id="4" name="Marcador de contenido 3"/>
          <p:cNvSpPr>
            <a:spLocks noGrp="1"/>
          </p:cNvSpPr>
          <p:nvPr>
            <p:ph sz="half" idx="2"/>
          </p:nvPr>
        </p:nvSpPr>
        <p:spPr/>
        <p:txBody>
          <a:bodyPr/>
          <a:lstStyle/>
          <a:p>
            <a:r>
              <a:rPr lang="es-CL" sz="1600" b="1" dirty="0"/>
              <a:t>Tipos de verificaciones</a:t>
            </a:r>
          </a:p>
          <a:p>
            <a:r>
              <a:rPr lang="es-CL" sz="1600" dirty="0"/>
              <a:t>Las siguientes funciones se pueden utilizar para verificar el tipo de resultado esperado con el test. Estas se llaman desde el </a:t>
            </a:r>
            <a:r>
              <a:rPr lang="es-CL" sz="1600" b="1" dirty="0" err="1"/>
              <a:t>expect</a:t>
            </a:r>
            <a:r>
              <a:rPr lang="es-CL" sz="1600" dirty="0"/>
              <a:t>:</a:t>
            </a:r>
          </a:p>
          <a:p>
            <a:endParaRPr lang="es-CL" sz="1600" dirty="0"/>
          </a:p>
          <a:p>
            <a:pPr marL="285750" indent="-285750">
              <a:buFont typeface="Wingdings" panose="05000000000000000000" pitchFamily="2" charset="2"/>
              <a:buChar char="q"/>
            </a:pPr>
            <a:r>
              <a:rPr lang="es-CL" sz="1600" b="1" dirty="0" err="1"/>
              <a:t>toBe</a:t>
            </a:r>
            <a:r>
              <a:rPr lang="es-CL" sz="1600" b="1" dirty="0"/>
              <a:t>: </a:t>
            </a:r>
            <a:r>
              <a:rPr lang="es-CL" sz="1600" dirty="0"/>
              <a:t>Función que espera una aseveración. (true, false, </a:t>
            </a:r>
            <a:r>
              <a:rPr lang="es-CL" sz="1600" dirty="0" err="1"/>
              <a:t>null</a:t>
            </a:r>
            <a:r>
              <a:rPr lang="es-CL" sz="1600" dirty="0"/>
              <a:t>, </a:t>
            </a:r>
            <a:r>
              <a:rPr lang="es-CL" sz="1600" dirty="0" err="1"/>
              <a:t>etc</a:t>
            </a:r>
            <a:r>
              <a:rPr lang="es-CL" sz="1600" dirty="0"/>
              <a:t>).</a:t>
            </a:r>
          </a:p>
          <a:p>
            <a:pPr marL="285750" indent="-285750">
              <a:buFont typeface="Wingdings" panose="05000000000000000000" pitchFamily="2" charset="2"/>
              <a:buChar char="q"/>
            </a:pPr>
            <a:r>
              <a:rPr lang="es-CL" sz="1600" b="1" dirty="0" err="1"/>
              <a:t>toBeTruthy</a:t>
            </a:r>
            <a:r>
              <a:rPr lang="es-CL" sz="1600" b="1" dirty="0"/>
              <a:t>: </a:t>
            </a:r>
            <a:r>
              <a:rPr lang="es-CL" sz="1600" dirty="0"/>
              <a:t>El resultado siempre se esperará a que exista.</a:t>
            </a:r>
          </a:p>
          <a:p>
            <a:pPr marL="285750" indent="-285750">
              <a:buFont typeface="Wingdings" panose="05000000000000000000" pitchFamily="2" charset="2"/>
              <a:buChar char="q"/>
            </a:pPr>
            <a:r>
              <a:rPr lang="es-CL" sz="1600" b="1" dirty="0" err="1"/>
              <a:t>toBeFalsy</a:t>
            </a:r>
            <a:r>
              <a:rPr lang="es-CL" sz="1600" b="1" dirty="0"/>
              <a:t>: </a:t>
            </a:r>
            <a:r>
              <a:rPr lang="es-CL" sz="1600" dirty="0"/>
              <a:t>El resultado siempre se esperará a que no exista.</a:t>
            </a:r>
          </a:p>
          <a:p>
            <a:pPr marL="285750" indent="-285750">
              <a:buFont typeface="Wingdings" panose="05000000000000000000" pitchFamily="2" charset="2"/>
              <a:buChar char="q"/>
            </a:pPr>
            <a:r>
              <a:rPr lang="es-CL" sz="1600" b="1" dirty="0" err="1"/>
              <a:t>toContain</a:t>
            </a:r>
            <a:r>
              <a:rPr lang="es-CL" sz="1600" b="1" dirty="0"/>
              <a:t>: </a:t>
            </a:r>
            <a:r>
              <a:rPr lang="es-CL" sz="1600" dirty="0"/>
              <a:t>Generalmente utilizado para verificar si contiene algún valor o texto.</a:t>
            </a:r>
          </a:p>
          <a:p>
            <a:pPr marL="285750" indent="-285750">
              <a:buFont typeface="Wingdings" panose="05000000000000000000" pitchFamily="2" charset="2"/>
              <a:buChar char="q"/>
            </a:pPr>
            <a:r>
              <a:rPr lang="es-CL" sz="1600" b="1" dirty="0" err="1"/>
              <a:t>toEqual</a:t>
            </a:r>
            <a:r>
              <a:rPr lang="es-CL" sz="1600" b="1" dirty="0"/>
              <a:t>: </a:t>
            </a:r>
            <a:r>
              <a:rPr lang="es-CL" sz="1600" dirty="0"/>
              <a:t>Espera siempre que la comparación sea igual al objeto, valor, texto, etc.</a:t>
            </a:r>
            <a:endParaRPr lang="es-CL" sz="1600" b="1" dirty="0"/>
          </a:p>
        </p:txBody>
      </p:sp>
    </p:spTree>
    <p:extLst>
      <p:ext uri="{BB962C8B-B14F-4D97-AF65-F5344CB8AC3E}">
        <p14:creationId xmlns:p14="http://schemas.microsoft.com/office/powerpoint/2010/main" val="1834154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_tradnl" dirty="0"/>
              <a:t>Conociendo Jasmine y Karma </a:t>
            </a:r>
            <a:endParaRPr lang="es-CL" dirty="0"/>
          </a:p>
        </p:txBody>
      </p:sp>
      <p:sp>
        <p:nvSpPr>
          <p:cNvPr id="3" name="Marcador de texto 2"/>
          <p:cNvSpPr>
            <a:spLocks noGrp="1"/>
          </p:cNvSpPr>
          <p:nvPr>
            <p:ph type="body" idx="1"/>
          </p:nvPr>
        </p:nvSpPr>
        <p:spPr/>
        <p:txBody>
          <a:bodyPr/>
          <a:lstStyle/>
          <a:p>
            <a:r>
              <a:rPr lang="es-ES" dirty="0"/>
              <a:t>conceptos básicos</a:t>
            </a:r>
          </a:p>
          <a:p>
            <a:endParaRPr lang="es-CL" dirty="0"/>
          </a:p>
        </p:txBody>
      </p:sp>
      <p:sp>
        <p:nvSpPr>
          <p:cNvPr id="4" name="Marcador de contenido 3"/>
          <p:cNvSpPr>
            <a:spLocks noGrp="1"/>
          </p:cNvSpPr>
          <p:nvPr>
            <p:ph sz="half" idx="2"/>
          </p:nvPr>
        </p:nvSpPr>
        <p:spPr/>
        <p:txBody>
          <a:bodyPr/>
          <a:lstStyle/>
          <a:p>
            <a:r>
              <a:rPr lang="es-CL" sz="1600" b="1" dirty="0"/>
              <a:t>Ejecución de pruebas</a:t>
            </a:r>
            <a:endParaRPr lang="es-CL" sz="1600" dirty="0"/>
          </a:p>
          <a:p>
            <a:r>
              <a:rPr lang="es-CL" sz="1600" dirty="0"/>
              <a:t>Para ejecutar las pruebas se debe utilizar el comando </a:t>
            </a:r>
            <a:r>
              <a:rPr lang="es-CL" sz="1600" b="1" dirty="0" err="1"/>
              <a:t>ng</a:t>
            </a:r>
            <a:r>
              <a:rPr lang="es-CL" sz="1600" b="1" dirty="0"/>
              <a:t> test, </a:t>
            </a:r>
            <a:r>
              <a:rPr lang="es-CL" sz="1600" dirty="0"/>
              <a:t>en la terminal dentro del proyecto. Esto ejecutará con karma el set de pruebas que se fueron definidas, entregando la información en la terminal y además se abrirá un navegador con los resultados.</a:t>
            </a:r>
          </a:p>
          <a:p>
            <a:endParaRPr lang="es-CL" sz="1600" dirty="0"/>
          </a:p>
          <a:p>
            <a:r>
              <a:rPr lang="es-CL" sz="1600" dirty="0"/>
              <a:t>En caso que se desee ejecutar los test unitarios y además conocer la cobertura de código que estos test abarcan, se debe ejecutar el comando </a:t>
            </a:r>
            <a:r>
              <a:rPr lang="es-CL" sz="1600" b="1" dirty="0" err="1"/>
              <a:t>ng</a:t>
            </a:r>
            <a:r>
              <a:rPr lang="es-CL" sz="1600" b="1" dirty="0"/>
              <a:t> test –</a:t>
            </a:r>
            <a:r>
              <a:rPr lang="es-CL" sz="1600" b="1" dirty="0" err="1"/>
              <a:t>code-coverage</a:t>
            </a:r>
            <a:r>
              <a:rPr lang="es-CL" sz="1600" b="1" dirty="0"/>
              <a:t>. </a:t>
            </a:r>
            <a:r>
              <a:rPr lang="es-CL" sz="1600" dirty="0"/>
              <a:t>El cual generará una carpeta de nombre </a:t>
            </a:r>
            <a:r>
              <a:rPr lang="es-CL" sz="1600" b="1" dirty="0" err="1"/>
              <a:t>coverage</a:t>
            </a:r>
            <a:r>
              <a:rPr lang="es-CL" sz="1600" b="1" dirty="0"/>
              <a:t> </a:t>
            </a:r>
            <a:r>
              <a:rPr lang="es-CL" sz="1600" dirty="0"/>
              <a:t>y dentro de esta se podrá ver al abrir el index.html. Además la información será mostrada en la terminal.</a:t>
            </a:r>
          </a:p>
          <a:p>
            <a:endParaRPr lang="es-CL" sz="1600" dirty="0"/>
          </a:p>
          <a:p>
            <a:endParaRPr lang="es-CL" sz="1600" dirty="0"/>
          </a:p>
        </p:txBody>
      </p:sp>
    </p:spTree>
    <p:extLst>
      <p:ext uri="{BB962C8B-B14F-4D97-AF65-F5344CB8AC3E}">
        <p14:creationId xmlns:p14="http://schemas.microsoft.com/office/powerpoint/2010/main" val="993786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Jasmine y Karma </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conceptos básicos</a:t>
            </a:r>
          </a:p>
        </p:txBody>
      </p:sp>
      <p:sp>
        <p:nvSpPr>
          <p:cNvPr id="10" name="3 Marcador de contenido"/>
          <p:cNvSpPr>
            <a:spLocks noGrp="1"/>
          </p:cNvSpPr>
          <p:nvPr>
            <p:ph sz="half" idx="2"/>
          </p:nvPr>
        </p:nvSpPr>
        <p:spPr>
          <a:xfrm>
            <a:off x="395536" y="2276872"/>
            <a:ext cx="8136904" cy="936104"/>
          </a:xfrm>
        </p:spPr>
        <p:txBody>
          <a:bodyPr tIns="0" bIns="0">
            <a:no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lgn="just">
              <a:spcAft>
                <a:spcPts val="600"/>
              </a:spcAft>
            </a:pPr>
            <a:r>
              <a:rPr lang="es-ES" b="1" dirty="0"/>
              <a:t>Resultados</a:t>
            </a:r>
          </a:p>
          <a:p>
            <a:pPr algn="just">
              <a:spcAft>
                <a:spcPts val="600"/>
              </a:spcAft>
            </a:pPr>
            <a:r>
              <a:rPr lang="es-ES" dirty="0"/>
              <a:t>Al ejecutar un test, los resultados que podemos obtener son:</a:t>
            </a:r>
          </a:p>
        </p:txBody>
      </p:sp>
      <p:grpSp>
        <p:nvGrpSpPr>
          <p:cNvPr id="20" name="19 Grupo"/>
          <p:cNvGrpSpPr/>
          <p:nvPr/>
        </p:nvGrpSpPr>
        <p:grpSpPr>
          <a:xfrm>
            <a:off x="1929970" y="3024327"/>
            <a:ext cx="898691" cy="400144"/>
            <a:chOff x="1353813" y="3024327"/>
            <a:chExt cx="898691" cy="400144"/>
          </a:xfrm>
        </p:grpSpPr>
        <p:sp>
          <p:nvSpPr>
            <p:cNvPr id="9" name="8 Medio marco"/>
            <p:cNvSpPr/>
            <p:nvPr/>
          </p:nvSpPr>
          <p:spPr>
            <a:xfrm rot="13294366">
              <a:off x="1353813" y="3024327"/>
              <a:ext cx="222289" cy="368238"/>
            </a:xfrm>
            <a:prstGeom prst="halfFrame">
              <a:avLst>
                <a:gd name="adj1" fmla="val 29707"/>
                <a:gd name="adj2" fmla="val 32427"/>
              </a:avLst>
            </a:prstGeom>
            <a:solidFill>
              <a:schemeClr val="tx2">
                <a:lumMod val="60000"/>
                <a:lumOff val="40000"/>
              </a:schemeClr>
            </a:solidFill>
            <a:ln>
              <a:solidFill>
                <a:schemeClr val="tx1"/>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s-ES"/>
            </a:p>
          </p:txBody>
        </p:sp>
        <p:sp>
          <p:nvSpPr>
            <p:cNvPr id="14" name="3 Marcador de contenido"/>
            <p:cNvSpPr txBox="1">
              <a:spLocks/>
            </p:cNvSpPr>
            <p:nvPr/>
          </p:nvSpPr>
          <p:spPr>
            <a:xfrm>
              <a:off x="1543123" y="3212976"/>
              <a:ext cx="709381" cy="211495"/>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Aft>
                  <a:spcPts val="600"/>
                </a:spcAft>
              </a:pPr>
              <a:r>
                <a:rPr lang="es-ES" b="1" dirty="0"/>
                <a:t>Éxito</a:t>
              </a:r>
            </a:p>
          </p:txBody>
        </p:sp>
      </p:grpSp>
      <p:grpSp>
        <p:nvGrpSpPr>
          <p:cNvPr id="3" name="2 Grupo"/>
          <p:cNvGrpSpPr/>
          <p:nvPr/>
        </p:nvGrpSpPr>
        <p:grpSpPr>
          <a:xfrm>
            <a:off x="2707505" y="2968736"/>
            <a:ext cx="6184975" cy="717816"/>
            <a:chOff x="2131348" y="2968736"/>
            <a:chExt cx="6184975" cy="717816"/>
          </a:xfrm>
        </p:grpSpPr>
        <p:sp>
          <p:nvSpPr>
            <p:cNvPr id="15" name="14 Cerrar llave"/>
            <p:cNvSpPr/>
            <p:nvPr/>
          </p:nvSpPr>
          <p:spPr>
            <a:xfrm flipH="1">
              <a:off x="2131348" y="2968736"/>
              <a:ext cx="216024" cy="717816"/>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sp>
          <p:nvSpPr>
            <p:cNvPr id="16" name="15 Rectángulo"/>
            <p:cNvSpPr/>
            <p:nvPr/>
          </p:nvSpPr>
          <p:spPr>
            <a:xfrm>
              <a:off x="2252504" y="2974531"/>
              <a:ext cx="6063819" cy="712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s-ES" sz="1400" b="0" kern="1200" dirty="0">
                  <a:solidFill>
                    <a:schemeClr val="tx1">
                      <a:lumMod val="50000"/>
                      <a:lumOff val="50000"/>
                    </a:schemeClr>
                  </a:solidFill>
                  <a:latin typeface="Arial" pitchFamily="34" charset="0"/>
                  <a:cs typeface="Arial" pitchFamily="34" charset="0"/>
                </a:rPr>
                <a:t>Se muestra en la salida como </a:t>
              </a:r>
              <a:r>
                <a:rPr lang="es-ES" sz="1400" b="0" kern="1200" dirty="0" err="1">
                  <a:solidFill>
                    <a:srgbClr val="9AAE04"/>
                  </a:solidFill>
                  <a:latin typeface="Arial" pitchFamily="34" charset="0"/>
                  <a:cs typeface="Arial" pitchFamily="34" charset="0"/>
                </a:rPr>
                <a:t>success</a:t>
              </a:r>
              <a:r>
                <a:rPr lang="es-ES" sz="1400" b="0" kern="1200" dirty="0">
                  <a:solidFill>
                    <a:schemeClr val="tx1">
                      <a:lumMod val="50000"/>
                      <a:lumOff val="50000"/>
                    </a:schemeClr>
                  </a:solidFill>
                  <a:latin typeface="Arial" pitchFamily="34" charset="0"/>
                  <a:cs typeface="Arial" pitchFamily="34" charset="0"/>
                </a:rPr>
                <a:t>.</a:t>
              </a:r>
            </a:p>
            <a:p>
              <a:pPr marL="228600" lvl="1" indent="-228600" algn="l" defTabSz="889000">
                <a:lnSpc>
                  <a:spcPct val="90000"/>
                </a:lnSpc>
                <a:spcBef>
                  <a:spcPct val="0"/>
                </a:spcBef>
                <a:spcAft>
                  <a:spcPct val="15000"/>
                </a:spcAft>
                <a:buChar char="••"/>
              </a:pPr>
              <a:r>
                <a:rPr lang="es-ES" sz="1400" b="0" kern="1200" dirty="0">
                  <a:solidFill>
                    <a:schemeClr val="tx1">
                      <a:lumMod val="50000"/>
                      <a:lumOff val="50000"/>
                    </a:schemeClr>
                  </a:solidFill>
                  <a:latin typeface="Arial" pitchFamily="34" charset="0"/>
                  <a:cs typeface="Arial" pitchFamily="34" charset="0"/>
                </a:rPr>
                <a:t>Indica que todo ha ido bien en la ejecución del test.</a:t>
              </a:r>
            </a:p>
          </p:txBody>
        </p:sp>
      </p:grpSp>
      <p:grpSp>
        <p:nvGrpSpPr>
          <p:cNvPr id="6" name="5 Grupo"/>
          <p:cNvGrpSpPr/>
          <p:nvPr/>
        </p:nvGrpSpPr>
        <p:grpSpPr>
          <a:xfrm>
            <a:off x="1901473" y="4081233"/>
            <a:ext cx="927188" cy="368888"/>
            <a:chOff x="1325316" y="3933056"/>
            <a:chExt cx="927188" cy="368888"/>
          </a:xfrm>
        </p:grpSpPr>
        <p:sp>
          <p:nvSpPr>
            <p:cNvPr id="8" name="7 Multiplicar"/>
            <p:cNvSpPr/>
            <p:nvPr/>
          </p:nvSpPr>
          <p:spPr>
            <a:xfrm>
              <a:off x="1325316" y="3933056"/>
              <a:ext cx="294356" cy="368888"/>
            </a:xfrm>
            <a:prstGeom prst="mathMultiply">
              <a:avLst/>
            </a:prstGeom>
            <a:solidFill>
              <a:srgbClr val="FF0000"/>
            </a:solidFill>
            <a:ln>
              <a:solidFill>
                <a:schemeClr val="tx1"/>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s-ES"/>
            </a:p>
          </p:txBody>
        </p:sp>
        <p:sp>
          <p:nvSpPr>
            <p:cNvPr id="17" name="3 Marcador de contenido"/>
            <p:cNvSpPr txBox="1">
              <a:spLocks/>
            </p:cNvSpPr>
            <p:nvPr/>
          </p:nvSpPr>
          <p:spPr>
            <a:xfrm>
              <a:off x="1543123" y="4011752"/>
              <a:ext cx="709381" cy="211495"/>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Aft>
                  <a:spcPts val="600"/>
                </a:spcAft>
              </a:pPr>
              <a:r>
                <a:rPr lang="es-ES" b="1" dirty="0"/>
                <a:t>Fallo</a:t>
              </a:r>
            </a:p>
          </p:txBody>
        </p:sp>
      </p:grpSp>
      <p:grpSp>
        <p:nvGrpSpPr>
          <p:cNvPr id="5" name="4 Grupo"/>
          <p:cNvGrpSpPr/>
          <p:nvPr/>
        </p:nvGrpSpPr>
        <p:grpSpPr>
          <a:xfrm>
            <a:off x="2698965" y="3861048"/>
            <a:ext cx="6193515" cy="864096"/>
            <a:chOff x="2122808" y="3758591"/>
            <a:chExt cx="6193515" cy="864096"/>
          </a:xfrm>
        </p:grpSpPr>
        <p:sp>
          <p:nvSpPr>
            <p:cNvPr id="18" name="17 Rectángulo"/>
            <p:cNvSpPr/>
            <p:nvPr/>
          </p:nvSpPr>
          <p:spPr>
            <a:xfrm>
              <a:off x="2252504" y="3758591"/>
              <a:ext cx="6063819" cy="8640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s-ES" sz="1400" b="0" kern="1200" dirty="0">
                  <a:solidFill>
                    <a:schemeClr val="tx1">
                      <a:lumMod val="50000"/>
                      <a:lumOff val="50000"/>
                    </a:schemeClr>
                  </a:solidFill>
                  <a:latin typeface="Arial" pitchFamily="34" charset="0"/>
                  <a:cs typeface="Arial" pitchFamily="34" charset="0"/>
                </a:rPr>
                <a:t>Se muestra como </a:t>
              </a:r>
              <a:r>
                <a:rPr lang="es-ES" sz="1400" b="0" kern="1200" dirty="0" err="1">
                  <a:solidFill>
                    <a:srgbClr val="FF0000"/>
                  </a:solidFill>
                  <a:latin typeface="Arial" pitchFamily="34" charset="0"/>
                  <a:cs typeface="Arial" pitchFamily="34" charset="0"/>
                </a:rPr>
                <a:t>failed</a:t>
              </a:r>
              <a:r>
                <a:rPr lang="es-ES" sz="1400" b="0" kern="1200" dirty="0">
                  <a:solidFill>
                    <a:srgbClr val="FF0000"/>
                  </a:solidFill>
                  <a:latin typeface="Arial" pitchFamily="34" charset="0"/>
                  <a:cs typeface="Arial" pitchFamily="34" charset="0"/>
                </a:rPr>
                <a:t> </a:t>
              </a:r>
              <a:r>
                <a:rPr lang="es-ES" sz="1400" b="0" kern="1200" dirty="0">
                  <a:solidFill>
                    <a:schemeClr val="tx1">
                      <a:lumMod val="50000"/>
                      <a:lumOff val="50000"/>
                    </a:schemeClr>
                  </a:solidFill>
                  <a:latin typeface="Arial" pitchFamily="34" charset="0"/>
                  <a:cs typeface="Arial" pitchFamily="34" charset="0"/>
                </a:rPr>
                <a:t>en la salida.</a:t>
              </a:r>
            </a:p>
            <a:p>
              <a:pPr marL="228600" lvl="1" indent="-228600" defTabSz="889000">
                <a:lnSpc>
                  <a:spcPct val="90000"/>
                </a:lnSpc>
                <a:spcBef>
                  <a:spcPct val="0"/>
                </a:spcBef>
                <a:spcAft>
                  <a:spcPct val="15000"/>
                </a:spcAft>
                <a:buChar char="••"/>
              </a:pPr>
              <a:r>
                <a:rPr lang="es-ES" sz="1400" dirty="0">
                  <a:solidFill>
                    <a:schemeClr val="tx1">
                      <a:lumMod val="50000"/>
                      <a:lumOff val="50000"/>
                    </a:schemeClr>
                  </a:solidFill>
                  <a:latin typeface="Arial" pitchFamily="34" charset="0"/>
                  <a:cs typeface="Arial" pitchFamily="34" charset="0"/>
                </a:rPr>
                <a:t>Existe un </a:t>
              </a:r>
              <a:r>
                <a:rPr lang="es-ES" sz="1400" b="0" kern="1200" dirty="0">
                  <a:solidFill>
                    <a:schemeClr val="tx1">
                      <a:lumMod val="50000"/>
                      <a:lumOff val="50000"/>
                    </a:schemeClr>
                  </a:solidFill>
                  <a:latin typeface="Arial" pitchFamily="34" charset="0"/>
                  <a:cs typeface="Arial" pitchFamily="34" charset="0"/>
                </a:rPr>
                <a:t>contador de fallos.</a:t>
              </a:r>
            </a:p>
            <a:p>
              <a:pPr marL="228600" lvl="1" indent="-228600" algn="l" defTabSz="889000">
                <a:lnSpc>
                  <a:spcPct val="90000"/>
                </a:lnSpc>
                <a:spcBef>
                  <a:spcPct val="0"/>
                </a:spcBef>
                <a:spcAft>
                  <a:spcPct val="15000"/>
                </a:spcAft>
                <a:buChar char="••"/>
              </a:pPr>
              <a:r>
                <a:rPr lang="es-ES" sz="1400" b="0" kern="1200" dirty="0">
                  <a:solidFill>
                    <a:schemeClr val="tx1">
                      <a:lumMod val="50000"/>
                      <a:lumOff val="50000"/>
                    </a:schemeClr>
                  </a:solidFill>
                  <a:latin typeface="Arial" pitchFamily="34" charset="0"/>
                  <a:cs typeface="Arial" pitchFamily="34" charset="0"/>
                </a:rPr>
                <a:t>Indica que ha fallado la comprobación de alguna función del test.</a:t>
              </a:r>
            </a:p>
          </p:txBody>
        </p:sp>
        <p:sp>
          <p:nvSpPr>
            <p:cNvPr id="19" name="18 Cerrar llave"/>
            <p:cNvSpPr/>
            <p:nvPr/>
          </p:nvSpPr>
          <p:spPr>
            <a:xfrm flipH="1">
              <a:off x="2122808" y="3758591"/>
              <a:ext cx="216024" cy="864096"/>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grpSp>
      <p:grpSp>
        <p:nvGrpSpPr>
          <p:cNvPr id="22" name="21 Grupo"/>
          <p:cNvGrpSpPr/>
          <p:nvPr/>
        </p:nvGrpSpPr>
        <p:grpSpPr>
          <a:xfrm>
            <a:off x="1907797" y="5413516"/>
            <a:ext cx="927188" cy="368888"/>
            <a:chOff x="1325316" y="3933056"/>
            <a:chExt cx="927188" cy="368888"/>
          </a:xfrm>
        </p:grpSpPr>
        <p:sp>
          <p:nvSpPr>
            <p:cNvPr id="23" name="22 Multiplicar"/>
            <p:cNvSpPr/>
            <p:nvPr/>
          </p:nvSpPr>
          <p:spPr>
            <a:xfrm>
              <a:off x="1325316" y="3933056"/>
              <a:ext cx="294356" cy="368888"/>
            </a:xfrm>
            <a:prstGeom prst="mathMultiply">
              <a:avLst/>
            </a:prstGeom>
            <a:solidFill>
              <a:srgbClr val="FF0000"/>
            </a:solidFill>
            <a:ln>
              <a:solidFill>
                <a:schemeClr val="tx1"/>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s-ES"/>
            </a:p>
          </p:txBody>
        </p:sp>
        <p:sp>
          <p:nvSpPr>
            <p:cNvPr id="24" name="3 Marcador de contenido"/>
            <p:cNvSpPr txBox="1">
              <a:spLocks/>
            </p:cNvSpPr>
            <p:nvPr/>
          </p:nvSpPr>
          <p:spPr>
            <a:xfrm>
              <a:off x="1543123" y="4011752"/>
              <a:ext cx="709381" cy="211495"/>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Aft>
                  <a:spcPts val="600"/>
                </a:spcAft>
              </a:pPr>
              <a:r>
                <a:rPr lang="es-ES" b="1" dirty="0"/>
                <a:t>Error</a:t>
              </a:r>
            </a:p>
          </p:txBody>
        </p:sp>
      </p:grpSp>
      <p:grpSp>
        <p:nvGrpSpPr>
          <p:cNvPr id="21" name="20 Grupo"/>
          <p:cNvGrpSpPr/>
          <p:nvPr/>
        </p:nvGrpSpPr>
        <p:grpSpPr>
          <a:xfrm>
            <a:off x="2705289" y="4941168"/>
            <a:ext cx="6331207" cy="1368152"/>
            <a:chOff x="2129132" y="5013176"/>
            <a:chExt cx="6331207" cy="1368152"/>
          </a:xfrm>
        </p:grpSpPr>
        <p:sp>
          <p:nvSpPr>
            <p:cNvPr id="26" name="25 Rectángulo"/>
            <p:cNvSpPr/>
            <p:nvPr/>
          </p:nvSpPr>
          <p:spPr>
            <a:xfrm>
              <a:off x="2258828" y="5013176"/>
              <a:ext cx="6201511" cy="13681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228600" lvl="1" indent="-228600" defTabSz="889000">
                <a:lnSpc>
                  <a:spcPct val="90000"/>
                </a:lnSpc>
                <a:spcBef>
                  <a:spcPct val="0"/>
                </a:spcBef>
                <a:spcAft>
                  <a:spcPct val="15000"/>
                </a:spcAft>
                <a:buChar char="••"/>
              </a:pPr>
              <a:r>
                <a:rPr lang="es-ES" sz="1400" dirty="0">
                  <a:solidFill>
                    <a:schemeClr val="tx1">
                      <a:lumMod val="50000"/>
                      <a:lumOff val="50000"/>
                    </a:schemeClr>
                  </a:solidFill>
                  <a:latin typeface="Arial" pitchFamily="34" charset="0"/>
                  <a:cs typeface="Arial" pitchFamily="34" charset="0"/>
                </a:rPr>
                <a:t>Se muestra como </a:t>
              </a:r>
              <a:r>
                <a:rPr lang="es-ES" sz="1400" dirty="0">
                  <a:solidFill>
                    <a:srgbClr val="FF0000"/>
                  </a:solidFill>
                  <a:latin typeface="Arial" pitchFamily="34" charset="0"/>
                  <a:cs typeface="Arial" pitchFamily="34" charset="0"/>
                </a:rPr>
                <a:t>error</a:t>
              </a:r>
              <a:r>
                <a:rPr lang="es-ES" sz="1400" dirty="0">
                  <a:solidFill>
                    <a:schemeClr val="tx1">
                      <a:lumMod val="50000"/>
                      <a:lumOff val="50000"/>
                    </a:schemeClr>
                  </a:solidFill>
                  <a:latin typeface="Arial" pitchFamily="34" charset="0"/>
                  <a:cs typeface="Arial" pitchFamily="34" charset="0"/>
                </a:rPr>
                <a:t> en la salida.</a:t>
              </a:r>
            </a:p>
            <a:p>
              <a:pPr marL="228600" lvl="1" indent="-228600" defTabSz="889000">
                <a:lnSpc>
                  <a:spcPct val="90000"/>
                </a:lnSpc>
                <a:spcBef>
                  <a:spcPct val="0"/>
                </a:spcBef>
                <a:spcAft>
                  <a:spcPct val="15000"/>
                </a:spcAft>
                <a:buChar char="••"/>
              </a:pPr>
              <a:r>
                <a:rPr lang="es-ES" sz="1400" dirty="0">
                  <a:solidFill>
                    <a:schemeClr val="tx1">
                      <a:lumMod val="50000"/>
                      <a:lumOff val="50000"/>
                    </a:schemeClr>
                  </a:solidFill>
                  <a:latin typeface="Arial" pitchFamily="34" charset="0"/>
                  <a:cs typeface="Arial" pitchFamily="34" charset="0"/>
                </a:rPr>
                <a:t>Se produce cuando el sistema que estamos probando ha fallado de forma inesperada, o bien cuando falla la lógica del propio test.</a:t>
              </a:r>
            </a:p>
            <a:p>
              <a:pPr marL="228600" lvl="1" indent="-228600" defTabSz="889000">
                <a:lnSpc>
                  <a:spcPct val="90000"/>
                </a:lnSpc>
                <a:spcBef>
                  <a:spcPct val="0"/>
                </a:spcBef>
                <a:spcAft>
                  <a:spcPct val="15000"/>
                </a:spcAft>
                <a:buChar char="••"/>
              </a:pPr>
              <a:r>
                <a:rPr lang="es-ES" sz="1400" dirty="0">
                  <a:solidFill>
                    <a:schemeClr val="tx1">
                      <a:lumMod val="50000"/>
                      <a:lumOff val="50000"/>
                    </a:schemeClr>
                  </a:solidFill>
                  <a:latin typeface="Arial" pitchFamily="34" charset="0"/>
                  <a:cs typeface="Arial" pitchFamily="34" charset="0"/>
                </a:rPr>
                <a:t>Suele mostrarse también la traza del error producido.</a:t>
              </a:r>
            </a:p>
          </p:txBody>
        </p:sp>
        <p:sp>
          <p:nvSpPr>
            <p:cNvPr id="27" name="26 Cerrar llave"/>
            <p:cNvSpPr/>
            <p:nvPr/>
          </p:nvSpPr>
          <p:spPr>
            <a:xfrm flipH="1">
              <a:off x="2129132" y="5013176"/>
              <a:ext cx="216024" cy="1368152"/>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grpSp>
      <p:sp>
        <p:nvSpPr>
          <p:cNvPr id="29" name="28 Cerrar llave"/>
          <p:cNvSpPr/>
          <p:nvPr/>
        </p:nvSpPr>
        <p:spPr>
          <a:xfrm flipH="1">
            <a:off x="1725588" y="4159928"/>
            <a:ext cx="216024" cy="1622475"/>
          </a:xfrm>
          <a:prstGeom prst="rightBrace">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lt1"/>
              </a:solidFill>
            </a:endParaRPr>
          </a:p>
        </p:txBody>
      </p:sp>
      <p:sp>
        <p:nvSpPr>
          <p:cNvPr id="30" name="29 Rectángulo"/>
          <p:cNvSpPr/>
          <p:nvPr/>
        </p:nvSpPr>
        <p:spPr>
          <a:xfrm>
            <a:off x="361627" y="4293096"/>
            <a:ext cx="1546077" cy="13681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1" defTabSz="889000">
              <a:lnSpc>
                <a:spcPct val="90000"/>
              </a:lnSpc>
              <a:spcBef>
                <a:spcPct val="0"/>
              </a:spcBef>
              <a:spcAft>
                <a:spcPct val="15000"/>
              </a:spcAft>
            </a:pPr>
            <a:r>
              <a:rPr lang="es-ES" sz="1100" dirty="0">
                <a:solidFill>
                  <a:schemeClr val="tx1">
                    <a:lumMod val="50000"/>
                    <a:lumOff val="50000"/>
                  </a:schemeClr>
                </a:solidFill>
                <a:latin typeface="Arial" pitchFamily="34" charset="0"/>
                <a:cs typeface="Arial" pitchFamily="34" charset="0"/>
              </a:rPr>
              <a:t>La diferencia es que un </a:t>
            </a:r>
            <a:r>
              <a:rPr lang="es-ES" sz="1100" dirty="0">
                <a:solidFill>
                  <a:srgbClr val="FF0000"/>
                </a:solidFill>
                <a:latin typeface="Arial" pitchFamily="34" charset="0"/>
                <a:cs typeface="Arial" pitchFamily="34" charset="0"/>
              </a:rPr>
              <a:t>fallo</a:t>
            </a:r>
            <a:r>
              <a:rPr lang="es-ES" sz="1100" dirty="0">
                <a:solidFill>
                  <a:schemeClr val="tx1">
                    <a:lumMod val="50000"/>
                    <a:lumOff val="50000"/>
                  </a:schemeClr>
                </a:solidFill>
                <a:latin typeface="Arial" pitchFamily="34" charset="0"/>
                <a:cs typeface="Arial" pitchFamily="34" charset="0"/>
              </a:rPr>
              <a:t> es una aseveración que no se cumple, y un</a:t>
            </a:r>
          </a:p>
          <a:p>
            <a:pPr marL="0" lvl="1" defTabSz="889000">
              <a:lnSpc>
                <a:spcPct val="90000"/>
              </a:lnSpc>
              <a:spcBef>
                <a:spcPct val="0"/>
              </a:spcBef>
              <a:spcAft>
                <a:spcPct val="15000"/>
              </a:spcAft>
            </a:pPr>
            <a:r>
              <a:rPr lang="es-ES" sz="1100" dirty="0">
                <a:solidFill>
                  <a:srgbClr val="FF0000"/>
                </a:solidFill>
                <a:latin typeface="Arial" pitchFamily="34" charset="0"/>
                <a:cs typeface="Arial" pitchFamily="34" charset="0"/>
              </a:rPr>
              <a:t>error</a:t>
            </a:r>
            <a:r>
              <a:rPr lang="es-ES" sz="1100" dirty="0">
                <a:solidFill>
                  <a:schemeClr val="tx1">
                    <a:lumMod val="50000"/>
                    <a:lumOff val="50000"/>
                  </a:schemeClr>
                </a:solidFill>
                <a:latin typeface="Arial" pitchFamily="34" charset="0"/>
                <a:cs typeface="Arial" pitchFamily="34" charset="0"/>
              </a:rPr>
              <a:t> es una excepción durante la ejecución del código</a:t>
            </a:r>
          </a:p>
        </p:txBody>
      </p:sp>
    </p:spTree>
    <p:extLst>
      <p:ext uri="{BB962C8B-B14F-4D97-AF65-F5344CB8AC3E}">
        <p14:creationId xmlns:p14="http://schemas.microsoft.com/office/powerpoint/2010/main" val="1506494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Marcador de contenido 1"/>
          <p:cNvSpPr>
            <a:spLocks noGrp="1"/>
          </p:cNvSpPr>
          <p:nvPr>
            <p:ph idx="1"/>
          </p:nvPr>
        </p:nvSpPr>
        <p:spPr/>
        <p:txBody>
          <a:bodyPr>
            <a:normAutofit fontScale="92500" lnSpcReduction="10000"/>
          </a:bodyPr>
          <a:lstStyle/>
          <a:p>
            <a:r>
              <a:rPr lang="es-CL" dirty="0"/>
              <a:t>Concepto general</a:t>
            </a:r>
          </a:p>
          <a:p>
            <a:r>
              <a:rPr lang="es-CL" dirty="0" err="1"/>
              <a:t>Arrange-Act-Assert</a:t>
            </a:r>
            <a:endParaRPr lang="es-CL" dirty="0"/>
          </a:p>
          <a:p>
            <a:r>
              <a:rPr lang="es-CL" dirty="0"/>
              <a:t>Jasmine y karma</a:t>
            </a:r>
          </a:p>
          <a:p>
            <a:r>
              <a:rPr lang="es-CL" dirty="0"/>
              <a:t>TDD</a:t>
            </a:r>
          </a:p>
          <a:p>
            <a:r>
              <a:rPr lang="es-CL" dirty="0"/>
              <a:t>Ejercicio guiado</a:t>
            </a:r>
          </a:p>
          <a:p>
            <a:r>
              <a:rPr lang="es-CL" dirty="0"/>
              <a:t>Ejercicio practico</a:t>
            </a:r>
          </a:p>
        </p:txBody>
      </p:sp>
    </p:spTree>
    <p:extLst>
      <p:ext uri="{BB962C8B-B14F-4D97-AF65-F5344CB8AC3E}">
        <p14:creationId xmlns:p14="http://schemas.microsoft.com/office/powerpoint/2010/main" val="3992460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1484784"/>
            <a:ext cx="8280920" cy="432048"/>
          </a:xfrm>
        </p:spPr>
        <p:txBody>
          <a:bodyPr>
            <a:normAutofit fontScale="90000"/>
          </a:bodyPr>
          <a:lstStyle/>
          <a:p>
            <a:r>
              <a:rPr lang="es-CL" dirty="0"/>
              <a:t>Reglas de </a:t>
            </a:r>
            <a:r>
              <a:rPr lang="es-CL" dirty="0" err="1"/>
              <a:t>Testing</a:t>
            </a:r>
            <a:endParaRPr lang="es-CL" dirty="0"/>
          </a:p>
        </p:txBody>
      </p:sp>
      <p:sp>
        <p:nvSpPr>
          <p:cNvPr id="4" name="Marcador de contenido 3"/>
          <p:cNvSpPr>
            <a:spLocks noGrp="1"/>
          </p:cNvSpPr>
          <p:nvPr>
            <p:ph sz="half" idx="2"/>
          </p:nvPr>
        </p:nvSpPr>
        <p:spPr>
          <a:xfrm>
            <a:off x="1853444" y="2204864"/>
            <a:ext cx="5365104" cy="3273227"/>
          </a:xfrm>
        </p:spPr>
        <p:txBody>
          <a:bodyPr>
            <a:normAutofit/>
          </a:bodyPr>
          <a:lstStyle/>
          <a:p>
            <a:pPr marL="285750" indent="-285750">
              <a:buFont typeface="Arial" panose="020B0604020202020204" pitchFamily="34" charset="0"/>
              <a:buChar char="•"/>
            </a:pPr>
            <a:r>
              <a:rPr lang="es-CL" sz="1600" dirty="0"/>
              <a:t>Probar solamente una funcionalidad  a la vez.</a:t>
            </a:r>
          </a:p>
          <a:p>
            <a:pPr marL="285750" indent="-285750">
              <a:buFont typeface="Arial" panose="020B0604020202020204" pitchFamily="34" charset="0"/>
              <a:buChar char="•"/>
            </a:pPr>
            <a:r>
              <a:rPr lang="es-CL" sz="1600" dirty="0"/>
              <a:t>Probar lógica de Negocio, no funciones.</a:t>
            </a:r>
          </a:p>
          <a:p>
            <a:pPr marL="285750" indent="-285750">
              <a:buFont typeface="Arial" panose="020B0604020202020204" pitchFamily="34" charset="0"/>
              <a:buChar char="•"/>
            </a:pPr>
            <a:r>
              <a:rPr lang="es-CL" sz="1600" dirty="0"/>
              <a:t>Las pruebas deben ser repetibles y consistentes</a:t>
            </a:r>
          </a:p>
          <a:p>
            <a:endParaRPr lang="es-CL" sz="1600" dirty="0"/>
          </a:p>
          <a:p>
            <a:endParaRPr lang="es-CL" sz="1600" dirty="0"/>
          </a:p>
        </p:txBody>
      </p:sp>
      <p:pic>
        <p:nvPicPr>
          <p:cNvPr id="2052" name="Picture 4" descr="https://www.isotools.org/wp-content/uploads/2018/03/checklis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3673325"/>
            <a:ext cx="5184576" cy="2092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9982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396718" y="1988840"/>
            <a:ext cx="8280000" cy="1368152"/>
          </a:xfrm>
        </p:spPr>
        <p:txBody>
          <a:bodyPr>
            <a:normAutofit/>
          </a:bodyPr>
          <a:lstStyle/>
          <a:p>
            <a:r>
              <a:rPr lang="es-CL" sz="4800" dirty="0"/>
              <a:t>Ejercicio</a:t>
            </a:r>
          </a:p>
        </p:txBody>
      </p:sp>
      <p:sp>
        <p:nvSpPr>
          <p:cNvPr id="2" name="Marcador de contenido 1"/>
          <p:cNvSpPr>
            <a:spLocks noGrp="1"/>
          </p:cNvSpPr>
          <p:nvPr>
            <p:ph type="body" idx="1"/>
          </p:nvPr>
        </p:nvSpPr>
        <p:spPr>
          <a:xfrm>
            <a:off x="396718" y="2924944"/>
            <a:ext cx="8280000" cy="432048"/>
          </a:xfrm>
        </p:spPr>
        <p:txBody>
          <a:bodyPr>
            <a:normAutofit fontScale="85000" lnSpcReduction="10000"/>
          </a:bodyPr>
          <a:lstStyle/>
          <a:p>
            <a:r>
              <a:rPr lang="es-CL" dirty="0"/>
              <a:t>Crear componente “Calculadora” y hacer la función de sumar con sus test unitarios</a:t>
            </a:r>
          </a:p>
        </p:txBody>
      </p:sp>
    </p:spTree>
    <p:extLst>
      <p:ext uri="{BB962C8B-B14F-4D97-AF65-F5344CB8AC3E}">
        <p14:creationId xmlns:p14="http://schemas.microsoft.com/office/powerpoint/2010/main" val="3338626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396718" y="1988840"/>
            <a:ext cx="8280000" cy="1368152"/>
          </a:xfrm>
        </p:spPr>
        <p:txBody>
          <a:bodyPr>
            <a:normAutofit/>
          </a:bodyPr>
          <a:lstStyle/>
          <a:p>
            <a:r>
              <a:rPr lang="es-CL" sz="4800" dirty="0"/>
              <a:t>TDD</a:t>
            </a:r>
          </a:p>
        </p:txBody>
      </p:sp>
      <p:sp>
        <p:nvSpPr>
          <p:cNvPr id="2" name="Marcador de contenido 1"/>
          <p:cNvSpPr>
            <a:spLocks noGrp="1"/>
          </p:cNvSpPr>
          <p:nvPr>
            <p:ph type="body" idx="1"/>
          </p:nvPr>
        </p:nvSpPr>
        <p:spPr>
          <a:xfrm>
            <a:off x="396718" y="2924944"/>
            <a:ext cx="8280000" cy="432048"/>
          </a:xfrm>
        </p:spPr>
        <p:txBody>
          <a:bodyPr/>
          <a:lstStyle/>
          <a:p>
            <a:r>
              <a:rPr lang="es-CL" dirty="0"/>
              <a:t>Test </a:t>
            </a:r>
            <a:r>
              <a:rPr lang="es-CL" dirty="0" err="1"/>
              <a:t>Driven</a:t>
            </a:r>
            <a:r>
              <a:rPr lang="es-CL" dirty="0"/>
              <a:t> </a:t>
            </a:r>
            <a:r>
              <a:rPr lang="es-CL" dirty="0" err="1"/>
              <a:t>Development</a:t>
            </a:r>
            <a:endParaRPr lang="es-CL" dirty="0"/>
          </a:p>
        </p:txBody>
      </p:sp>
      <p:pic>
        <p:nvPicPr>
          <p:cNvPr id="5" name="Imagen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68144" y="4149080"/>
            <a:ext cx="1820017" cy="1865067"/>
          </a:xfrm>
          <a:prstGeom prst="rect">
            <a:avLst/>
          </a:prstGeom>
        </p:spPr>
      </p:pic>
    </p:spTree>
    <p:extLst>
      <p:ext uri="{BB962C8B-B14F-4D97-AF65-F5344CB8AC3E}">
        <p14:creationId xmlns:p14="http://schemas.microsoft.com/office/powerpoint/2010/main" val="2265717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Definición</a:t>
            </a:r>
          </a:p>
        </p:txBody>
      </p:sp>
      <p:sp>
        <p:nvSpPr>
          <p:cNvPr id="8" name="3 Marcador de contenido"/>
          <p:cNvSpPr txBox="1">
            <a:spLocks/>
          </p:cNvSpPr>
          <p:nvPr/>
        </p:nvSpPr>
        <p:spPr>
          <a:xfrm>
            <a:off x="2595811" y="2310436"/>
            <a:ext cx="6368677" cy="3926876"/>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sz="1600" b="1" dirty="0">
                <a:solidFill>
                  <a:srgbClr val="222222"/>
                </a:solidFill>
              </a:rPr>
              <a:t>“Desarrollo guiado por pruebas de software</a:t>
            </a:r>
            <a:r>
              <a:rPr lang="es-ES" sz="1600" dirty="0">
                <a:solidFill>
                  <a:srgbClr val="222222"/>
                </a:solidFill>
              </a:rPr>
              <a:t>, o </a:t>
            </a:r>
            <a:r>
              <a:rPr lang="es-ES" sz="1600" b="1" dirty="0">
                <a:solidFill>
                  <a:srgbClr val="222222"/>
                </a:solidFill>
              </a:rPr>
              <a:t>Test-</a:t>
            </a:r>
            <a:r>
              <a:rPr lang="es-ES" sz="1600" b="1" dirty="0" err="1">
                <a:solidFill>
                  <a:srgbClr val="222222"/>
                </a:solidFill>
              </a:rPr>
              <a:t>driven</a:t>
            </a:r>
            <a:r>
              <a:rPr lang="es-ES" sz="1600" b="1" dirty="0">
                <a:solidFill>
                  <a:srgbClr val="222222"/>
                </a:solidFill>
              </a:rPr>
              <a:t> </a:t>
            </a:r>
            <a:r>
              <a:rPr lang="es-ES" sz="1600" b="1" dirty="0" err="1">
                <a:solidFill>
                  <a:srgbClr val="222222"/>
                </a:solidFill>
              </a:rPr>
              <a:t>development</a:t>
            </a:r>
            <a:r>
              <a:rPr lang="es-ES" sz="1600" b="1" dirty="0">
                <a:solidFill>
                  <a:srgbClr val="222222"/>
                </a:solidFill>
              </a:rPr>
              <a:t> (TDD)</a:t>
            </a:r>
            <a:r>
              <a:rPr lang="es-ES" sz="1600" dirty="0">
                <a:solidFill>
                  <a:srgbClr val="222222"/>
                </a:solidFill>
              </a:rPr>
              <a:t> es una práctica de </a:t>
            </a:r>
            <a:r>
              <a:rPr lang="es-ES" sz="1600" dirty="0">
                <a:solidFill>
                  <a:srgbClr val="0B0080"/>
                </a:solidFill>
                <a:hlinkClick r:id="rId2" tooltip="Ingeniería de software"/>
              </a:rPr>
              <a:t>ingeniería de software</a:t>
            </a:r>
            <a:r>
              <a:rPr lang="es-ES" sz="1600" dirty="0">
                <a:solidFill>
                  <a:srgbClr val="222222"/>
                </a:solidFill>
              </a:rPr>
              <a:t> que involucra otras dos prácticas: </a:t>
            </a:r>
            <a:r>
              <a:rPr lang="es-ES" sz="1600" i="1" dirty="0">
                <a:solidFill>
                  <a:srgbClr val="222222"/>
                </a:solidFill>
              </a:rPr>
              <a:t>Escribir las pruebas primero (Test </a:t>
            </a:r>
            <a:r>
              <a:rPr lang="es-ES" sz="1600" i="1" dirty="0" err="1">
                <a:solidFill>
                  <a:srgbClr val="222222"/>
                </a:solidFill>
              </a:rPr>
              <a:t>First</a:t>
            </a:r>
            <a:r>
              <a:rPr lang="es-ES" sz="1600" i="1" dirty="0">
                <a:solidFill>
                  <a:srgbClr val="222222"/>
                </a:solidFill>
              </a:rPr>
              <a:t> </a:t>
            </a:r>
            <a:r>
              <a:rPr lang="es-ES" sz="1600" i="1" dirty="0" err="1">
                <a:solidFill>
                  <a:srgbClr val="222222"/>
                </a:solidFill>
              </a:rPr>
              <a:t>Development</a:t>
            </a:r>
            <a:r>
              <a:rPr lang="es-ES" sz="1600" i="1" dirty="0">
                <a:solidFill>
                  <a:srgbClr val="222222"/>
                </a:solidFill>
              </a:rPr>
              <a:t>)</a:t>
            </a:r>
            <a:r>
              <a:rPr lang="es-ES" sz="1600" dirty="0">
                <a:solidFill>
                  <a:srgbClr val="222222"/>
                </a:solidFill>
              </a:rPr>
              <a:t> y </a:t>
            </a:r>
            <a:r>
              <a:rPr lang="es-ES" sz="1600" i="1" dirty="0">
                <a:solidFill>
                  <a:srgbClr val="0B0080"/>
                </a:solidFill>
                <a:hlinkClick r:id="rId3" tooltip="Refactorización"/>
              </a:rPr>
              <a:t>Refactorización</a:t>
            </a:r>
            <a:r>
              <a:rPr lang="es-ES" sz="1600" i="1" dirty="0">
                <a:solidFill>
                  <a:srgbClr val="222222"/>
                </a:solidFill>
              </a:rPr>
              <a:t> (</a:t>
            </a:r>
            <a:r>
              <a:rPr lang="es-ES" sz="1600" i="1" dirty="0" err="1">
                <a:solidFill>
                  <a:srgbClr val="222222"/>
                </a:solidFill>
              </a:rPr>
              <a:t>Refactoring</a:t>
            </a:r>
            <a:r>
              <a:rPr lang="es-ES" sz="1600" i="1" dirty="0">
                <a:solidFill>
                  <a:srgbClr val="222222"/>
                </a:solidFill>
              </a:rPr>
              <a:t>)</a:t>
            </a:r>
            <a:r>
              <a:rPr lang="es-ES" sz="1600" dirty="0">
                <a:solidFill>
                  <a:srgbClr val="222222"/>
                </a:solidFill>
              </a:rPr>
              <a:t>. Para escribir las pruebas generalmente se utilizan las </a:t>
            </a:r>
            <a:r>
              <a:rPr lang="es-ES" sz="1600" dirty="0">
                <a:solidFill>
                  <a:srgbClr val="0B0080"/>
                </a:solidFill>
                <a:hlinkClick r:id="rId4" tooltip="Prueba unitaria"/>
              </a:rPr>
              <a:t>pruebas unitarias</a:t>
            </a:r>
            <a:r>
              <a:rPr lang="es-ES" sz="1600" dirty="0">
                <a:solidFill>
                  <a:srgbClr val="222222"/>
                </a:solidFill>
              </a:rPr>
              <a:t> (</a:t>
            </a:r>
            <a:r>
              <a:rPr lang="es-ES" sz="1600" dirty="0" err="1">
                <a:solidFill>
                  <a:srgbClr val="222222"/>
                </a:solidFill>
              </a:rPr>
              <a:t>unit</a:t>
            </a:r>
            <a:r>
              <a:rPr lang="es-ES" sz="1600" dirty="0">
                <a:solidFill>
                  <a:srgbClr val="222222"/>
                </a:solidFill>
              </a:rPr>
              <a:t> test en </a:t>
            </a:r>
            <a:r>
              <a:rPr lang="es-ES" sz="1600" dirty="0">
                <a:solidFill>
                  <a:srgbClr val="0B0080"/>
                </a:solidFill>
              </a:rPr>
              <a:t>inglés</a:t>
            </a:r>
            <a:r>
              <a:rPr lang="es-ES" sz="1600" dirty="0">
                <a:solidFill>
                  <a:srgbClr val="222222"/>
                </a:solidFill>
              </a:rPr>
              <a:t>). En primer lugar, se escribe una prueba y se verifica que las pruebas fallan. A continuación, se implementa el código que hace que la prueba pase satisfactoriamente y seguidamente se </a:t>
            </a:r>
            <a:r>
              <a:rPr lang="es-ES" sz="1600" dirty="0" err="1">
                <a:solidFill>
                  <a:srgbClr val="222222"/>
                </a:solidFill>
              </a:rPr>
              <a:t>refactoriza</a:t>
            </a:r>
            <a:r>
              <a:rPr lang="es-ES" sz="1600" dirty="0">
                <a:solidFill>
                  <a:srgbClr val="222222"/>
                </a:solidFill>
              </a:rPr>
              <a:t> el código escrito. El propósito del </a:t>
            </a:r>
            <a:r>
              <a:rPr lang="es-ES" sz="1600" i="1" dirty="0">
                <a:solidFill>
                  <a:srgbClr val="222222"/>
                </a:solidFill>
              </a:rPr>
              <a:t>desarrollo guiado por pruebas</a:t>
            </a:r>
            <a:r>
              <a:rPr lang="es-ES" sz="1600" dirty="0">
                <a:solidFill>
                  <a:srgbClr val="222222"/>
                </a:solidFill>
              </a:rPr>
              <a:t> es lograr un código limpio que funcione. La idea es que los requisitos sean traducidos a pruebas, de este modo, cuando las pruebas pasen se garantizará que el software cumple con los requisitos que se han establecido.” (</a:t>
            </a:r>
            <a:r>
              <a:rPr lang="es-ES" sz="1600" dirty="0">
                <a:solidFill>
                  <a:srgbClr val="222222"/>
                </a:solidFill>
                <a:hlinkClick r:id="rId5"/>
              </a:rPr>
              <a:t>Wikipedia</a:t>
            </a:r>
            <a:r>
              <a:rPr lang="es-ES" sz="1600" dirty="0">
                <a:solidFill>
                  <a:srgbClr val="222222"/>
                </a:solidFill>
              </a:rPr>
              <a:t>)</a:t>
            </a:r>
            <a:endParaRPr lang="es-ES" sz="1600" dirty="0"/>
          </a:p>
        </p:txBody>
      </p:sp>
      <p:pic>
        <p:nvPicPr>
          <p:cNvPr id="6" name="Imagem 5"/>
          <p:cNvPicPr>
            <a:picLocks noChangeAspect="1"/>
          </p:cNvPicPr>
          <p:nvPr/>
        </p:nvPicPr>
        <p:blipFill>
          <a:blip r:embed="rId6"/>
          <a:stretch>
            <a:fillRect/>
          </a:stretch>
        </p:blipFill>
        <p:spPr>
          <a:xfrm>
            <a:off x="395536" y="2460564"/>
            <a:ext cx="2200275" cy="2085975"/>
          </a:xfrm>
          <a:prstGeom prst="rect">
            <a:avLst/>
          </a:prstGeom>
        </p:spPr>
      </p:pic>
    </p:spTree>
    <p:extLst>
      <p:ext uri="{BB962C8B-B14F-4D97-AF65-F5344CB8AC3E}">
        <p14:creationId xmlns:p14="http://schemas.microsoft.com/office/powerpoint/2010/main" val="2137706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Desarrollo Ágil - Características</a:t>
            </a:r>
          </a:p>
        </p:txBody>
      </p:sp>
      <p:sp>
        <p:nvSpPr>
          <p:cNvPr id="8" name="3 Marcador de contenido"/>
          <p:cNvSpPr txBox="1">
            <a:spLocks/>
          </p:cNvSpPr>
          <p:nvPr/>
        </p:nvSpPr>
        <p:spPr>
          <a:xfrm>
            <a:off x="3059832" y="2276872"/>
            <a:ext cx="5688632" cy="3926876"/>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dirty="0">
                <a:solidFill>
                  <a:schemeClr val="tx1"/>
                </a:solidFill>
              </a:rPr>
              <a:t>El tiempo es corto</a:t>
            </a:r>
          </a:p>
          <a:p>
            <a:pPr marL="285750" indent="-285750" algn="just">
              <a:spcAft>
                <a:spcPts val="600"/>
              </a:spcAft>
              <a:buFont typeface="Arial" pitchFamily="34" charset="0"/>
              <a:buChar char="•"/>
            </a:pPr>
            <a:r>
              <a:rPr lang="es-ES" sz="1600" dirty="0">
                <a:solidFill>
                  <a:schemeClr val="tx1"/>
                </a:solidFill>
              </a:rPr>
              <a:t>El foco debe ser el valor generado</a:t>
            </a:r>
          </a:p>
          <a:p>
            <a:pPr marL="285750" indent="-285750" algn="just">
              <a:spcAft>
                <a:spcPts val="600"/>
              </a:spcAft>
              <a:buFont typeface="Arial" pitchFamily="34" charset="0"/>
              <a:buChar char="•"/>
            </a:pPr>
            <a:r>
              <a:rPr lang="es-ES" sz="1600" dirty="0">
                <a:solidFill>
                  <a:schemeClr val="tx1"/>
                </a:solidFill>
              </a:rPr>
              <a:t>La arquitectura debe de soportar el cambio</a:t>
            </a:r>
          </a:p>
          <a:p>
            <a:pPr marL="285750" indent="-285750" algn="just">
              <a:spcAft>
                <a:spcPts val="600"/>
              </a:spcAft>
              <a:buFont typeface="Arial" pitchFamily="34" charset="0"/>
              <a:buChar char="•"/>
            </a:pPr>
            <a:r>
              <a:rPr lang="es-ES" sz="1600" dirty="0">
                <a:solidFill>
                  <a:schemeClr val="tx1"/>
                </a:solidFill>
              </a:rPr>
              <a:t>Cualquier cambio en código es bienvenido</a:t>
            </a:r>
          </a:p>
          <a:p>
            <a:pPr marL="285750" indent="-285750" algn="just">
              <a:spcAft>
                <a:spcPts val="600"/>
              </a:spcAft>
              <a:buFont typeface="Arial" pitchFamily="34" charset="0"/>
              <a:buChar char="•"/>
            </a:pPr>
            <a:r>
              <a:rPr lang="es-ES" sz="1600" dirty="0">
                <a:solidFill>
                  <a:schemeClr val="tx1"/>
                </a:solidFill>
              </a:rPr>
              <a:t>La propiedad del código debe ser colectiva</a:t>
            </a:r>
          </a:p>
          <a:p>
            <a:pPr marL="285750" indent="-285750" algn="just">
              <a:spcAft>
                <a:spcPts val="600"/>
              </a:spcAft>
              <a:buFont typeface="Arial" pitchFamily="34" charset="0"/>
              <a:buChar char="•"/>
            </a:pPr>
            <a:r>
              <a:rPr lang="es-ES" sz="1600" dirty="0">
                <a:solidFill>
                  <a:schemeClr val="tx1"/>
                </a:solidFill>
              </a:rPr>
              <a:t>Los requerimientos cambian</a:t>
            </a:r>
          </a:p>
          <a:p>
            <a:pPr marL="285750" indent="-285750" algn="just">
              <a:spcAft>
                <a:spcPts val="600"/>
              </a:spcAft>
              <a:buFont typeface="Arial" pitchFamily="34" charset="0"/>
              <a:buChar char="•"/>
            </a:pPr>
            <a:r>
              <a:rPr lang="es-ES" sz="1600" dirty="0">
                <a:solidFill>
                  <a:schemeClr val="tx1"/>
                </a:solidFill>
              </a:rPr>
              <a:t>Documentación restricta (si lo hay!)</a:t>
            </a:r>
          </a:p>
          <a:p>
            <a:pPr marL="285750" indent="-285750" algn="just">
              <a:spcAft>
                <a:spcPts val="600"/>
              </a:spcAft>
              <a:buFont typeface="Arial" pitchFamily="34" charset="0"/>
              <a:buChar char="•"/>
            </a:pPr>
            <a:endParaRPr lang="es-ES" sz="1600" dirty="0">
              <a:solidFill>
                <a:schemeClr val="tx1"/>
              </a:solidFill>
            </a:endParaRPr>
          </a:p>
        </p:txBody>
      </p:sp>
      <p:pic>
        <p:nvPicPr>
          <p:cNvPr id="3074" name="Picture 2" descr="Resultado de imagem para agile development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128" y="2756991"/>
            <a:ext cx="2400201" cy="2400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926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Effect transition="in" filter="fade">
                                      <p:cBhvr>
                                        <p:cTn id="37" dur="500"/>
                                        <p:tgtEl>
                                          <p:spTgt spid="8">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7" end="7"/>
                                            </p:txEl>
                                          </p:spTgt>
                                        </p:tgtEl>
                                        <p:attrNameLst>
                                          <p:attrName>style.visibility</p:attrName>
                                        </p:attrNameLst>
                                      </p:cBhvr>
                                      <p:to>
                                        <p:strVal val="visible"/>
                                      </p:to>
                                    </p:set>
                                    <p:animEffect transition="in" filter="fade">
                                      <p:cBhvr>
                                        <p:cTn id="42"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Ciclo de desarrollo en TDD</a:t>
            </a:r>
          </a:p>
        </p:txBody>
      </p:sp>
      <p:pic>
        <p:nvPicPr>
          <p:cNvPr id="2052" name="Picture 4" descr="Resultado de imagem para tdd cyc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05882" y="2060848"/>
            <a:ext cx="4460228" cy="48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831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Ventajas de su utilización</a:t>
            </a:r>
          </a:p>
        </p:txBody>
      </p:sp>
      <p:sp>
        <p:nvSpPr>
          <p:cNvPr id="5" name="3 Marcador de contenido"/>
          <p:cNvSpPr txBox="1">
            <a:spLocks/>
          </p:cNvSpPr>
          <p:nvPr/>
        </p:nvSpPr>
        <p:spPr>
          <a:xfrm>
            <a:off x="3059832" y="2814492"/>
            <a:ext cx="5688632" cy="3350812"/>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dirty="0">
                <a:solidFill>
                  <a:schemeClr val="tx1"/>
                </a:solidFill>
              </a:rPr>
              <a:t>Mejor calidad</a:t>
            </a:r>
          </a:p>
          <a:p>
            <a:pPr marL="285750" indent="-285750" algn="just">
              <a:spcAft>
                <a:spcPts val="600"/>
              </a:spcAft>
              <a:buFont typeface="Arial" pitchFamily="34" charset="0"/>
              <a:buChar char="•"/>
            </a:pPr>
            <a:r>
              <a:rPr lang="es-ES" sz="1600" dirty="0">
                <a:solidFill>
                  <a:schemeClr val="tx1"/>
                </a:solidFill>
              </a:rPr>
              <a:t>Diseño enfocado en las necesidades</a:t>
            </a:r>
          </a:p>
          <a:p>
            <a:pPr marL="285750" indent="-285750" algn="just">
              <a:spcAft>
                <a:spcPts val="600"/>
              </a:spcAft>
              <a:buFont typeface="Arial" pitchFamily="34" charset="0"/>
              <a:buChar char="•"/>
            </a:pPr>
            <a:r>
              <a:rPr lang="es-ES" sz="1600" dirty="0">
                <a:solidFill>
                  <a:schemeClr val="tx1"/>
                </a:solidFill>
              </a:rPr>
              <a:t>Mayor simplicidad en el diseño</a:t>
            </a:r>
          </a:p>
          <a:p>
            <a:pPr marL="285750" indent="-285750" algn="just">
              <a:spcAft>
                <a:spcPts val="600"/>
              </a:spcAft>
              <a:buFont typeface="Arial" pitchFamily="34" charset="0"/>
              <a:buChar char="•"/>
            </a:pPr>
            <a:r>
              <a:rPr lang="es-ES" sz="1600" dirty="0">
                <a:solidFill>
                  <a:schemeClr val="tx1"/>
                </a:solidFill>
              </a:rPr>
              <a:t>El diseño se va adaptando al entendimiento del problema</a:t>
            </a:r>
          </a:p>
          <a:p>
            <a:pPr marL="285750" indent="-285750" algn="just">
              <a:spcAft>
                <a:spcPts val="600"/>
              </a:spcAft>
              <a:buFont typeface="Arial" pitchFamily="34" charset="0"/>
              <a:buChar char="•"/>
            </a:pPr>
            <a:r>
              <a:rPr lang="es-ES" sz="1600" dirty="0">
                <a:solidFill>
                  <a:schemeClr val="tx1"/>
                </a:solidFill>
              </a:rPr>
              <a:t>Mayor productividad </a:t>
            </a:r>
          </a:p>
          <a:p>
            <a:pPr marL="285750" indent="-285750" algn="just">
              <a:spcAft>
                <a:spcPts val="600"/>
              </a:spcAft>
              <a:buFont typeface="Arial" pitchFamily="34" charset="0"/>
              <a:buChar char="•"/>
            </a:pPr>
            <a:r>
              <a:rPr lang="es-ES" sz="1600" dirty="0">
                <a:solidFill>
                  <a:schemeClr val="tx1"/>
                </a:solidFill>
              </a:rPr>
              <a:t>Menos tiempo invertido en correcciones de errores</a:t>
            </a:r>
          </a:p>
          <a:p>
            <a:pPr marL="285750" indent="-285750" algn="just">
              <a:spcAft>
                <a:spcPts val="600"/>
              </a:spcAft>
              <a:buFont typeface="Arial" pitchFamily="34" charset="0"/>
              <a:buChar char="•"/>
            </a:pPr>
            <a:r>
              <a:rPr lang="es-ES" sz="1600" dirty="0">
                <a:solidFill>
                  <a:schemeClr val="tx1"/>
                </a:solidFill>
              </a:rPr>
              <a:t>Código enfocado en el comportamiento esperado</a:t>
            </a:r>
          </a:p>
        </p:txBody>
      </p:sp>
      <p:pic>
        <p:nvPicPr>
          <p:cNvPr id="3" name="Imagem 2"/>
          <p:cNvPicPr>
            <a:picLocks noChangeAspect="1"/>
          </p:cNvPicPr>
          <p:nvPr/>
        </p:nvPicPr>
        <p:blipFill>
          <a:blip r:embed="rId2"/>
          <a:stretch>
            <a:fillRect/>
          </a:stretch>
        </p:blipFill>
        <p:spPr>
          <a:xfrm>
            <a:off x="395536" y="2630445"/>
            <a:ext cx="2314708" cy="2742771"/>
          </a:xfrm>
          <a:prstGeom prst="rect">
            <a:avLst/>
          </a:prstGeom>
        </p:spPr>
      </p:pic>
    </p:spTree>
    <p:extLst>
      <p:ext uri="{BB962C8B-B14F-4D97-AF65-F5344CB8AC3E}">
        <p14:creationId xmlns:p14="http://schemas.microsoft.com/office/powerpoint/2010/main" val="3439418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6" end="6"/>
                                            </p:txEl>
                                          </p:spTgt>
                                        </p:tgtEl>
                                        <p:attrNameLst>
                                          <p:attrName>style.visibility</p:attrName>
                                        </p:attrNameLst>
                                      </p:cBhvr>
                                      <p:to>
                                        <p:strVal val="visible"/>
                                      </p:to>
                                    </p:set>
                                    <p:animEffect transition="in" filter="fade">
                                      <p:cBhvr>
                                        <p:cTn id="32" dur="500"/>
                                        <p:tgtEl>
                                          <p:spTgt spid="5">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animEffect transition="in" filter="fade">
                                      <p:cBhvr>
                                        <p:cTn id="37"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Dificultades en su utilización</a:t>
            </a:r>
          </a:p>
        </p:txBody>
      </p:sp>
      <p:sp>
        <p:nvSpPr>
          <p:cNvPr id="5" name="3 Marcador de contenido"/>
          <p:cNvSpPr txBox="1">
            <a:spLocks/>
          </p:cNvSpPr>
          <p:nvPr/>
        </p:nvSpPr>
        <p:spPr>
          <a:xfrm>
            <a:off x="3059832" y="2886500"/>
            <a:ext cx="5688632" cy="3062780"/>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dirty="0">
                <a:solidFill>
                  <a:schemeClr val="tx1"/>
                </a:solidFill>
              </a:rPr>
              <a:t>Interfaz de usuario</a:t>
            </a:r>
          </a:p>
          <a:p>
            <a:pPr marL="285750" indent="-285750" algn="just">
              <a:spcAft>
                <a:spcPts val="600"/>
              </a:spcAft>
              <a:buFont typeface="Arial" pitchFamily="34" charset="0"/>
              <a:buChar char="•"/>
            </a:pPr>
            <a:r>
              <a:rPr lang="es-ES" sz="1600" dirty="0">
                <a:solidFill>
                  <a:schemeClr val="tx1"/>
                </a:solidFill>
              </a:rPr>
              <a:t>La base de datos </a:t>
            </a:r>
          </a:p>
          <a:p>
            <a:pPr marL="285750" indent="-285750" algn="just">
              <a:spcAft>
                <a:spcPts val="600"/>
              </a:spcAft>
              <a:buFont typeface="Arial" pitchFamily="34" charset="0"/>
              <a:buChar char="•"/>
            </a:pPr>
            <a:r>
              <a:rPr lang="es-ES" sz="1600" dirty="0">
                <a:solidFill>
                  <a:schemeClr val="tx1"/>
                </a:solidFill>
              </a:rPr>
              <a:t>Falso sentimiento de seguridad</a:t>
            </a:r>
          </a:p>
          <a:p>
            <a:pPr marL="285750" indent="-285750" algn="just">
              <a:spcAft>
                <a:spcPts val="600"/>
              </a:spcAft>
              <a:buFont typeface="Arial" pitchFamily="34" charset="0"/>
              <a:buChar char="•"/>
            </a:pPr>
            <a:r>
              <a:rPr lang="es-ES" sz="1600" dirty="0">
                <a:solidFill>
                  <a:schemeClr val="tx1"/>
                </a:solidFill>
              </a:rPr>
              <a:t>Perder la visión general (Ver el árbol en lugar del bosque)</a:t>
            </a:r>
          </a:p>
          <a:p>
            <a:pPr marL="285750" indent="-285750" algn="just">
              <a:spcAft>
                <a:spcPts val="600"/>
              </a:spcAft>
              <a:buFont typeface="Arial" pitchFamily="34" charset="0"/>
              <a:buChar char="•"/>
            </a:pPr>
            <a:r>
              <a:rPr lang="es-ES" sz="1600" dirty="0">
                <a:solidFill>
                  <a:schemeClr val="tx1"/>
                </a:solidFill>
              </a:rPr>
              <a:t>Tiempo de adaptación / cambio de mentalidad</a:t>
            </a:r>
          </a:p>
        </p:txBody>
      </p:sp>
      <p:pic>
        <p:nvPicPr>
          <p:cNvPr id="2" name="Imagem 1"/>
          <p:cNvPicPr>
            <a:picLocks noChangeAspect="1"/>
          </p:cNvPicPr>
          <p:nvPr/>
        </p:nvPicPr>
        <p:blipFill>
          <a:blip r:embed="rId2"/>
          <a:stretch>
            <a:fillRect/>
          </a:stretch>
        </p:blipFill>
        <p:spPr>
          <a:xfrm>
            <a:off x="475853" y="2852936"/>
            <a:ext cx="2223939" cy="2376264"/>
          </a:xfrm>
          <a:prstGeom prst="rect">
            <a:avLst/>
          </a:prstGeom>
        </p:spPr>
      </p:pic>
    </p:spTree>
    <p:extLst>
      <p:ext uri="{BB962C8B-B14F-4D97-AF65-F5344CB8AC3E}">
        <p14:creationId xmlns:p14="http://schemas.microsoft.com/office/powerpoint/2010/main" val="1178947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Test </a:t>
            </a:r>
            <a:r>
              <a:rPr lang="es-ES" dirty="0" err="1"/>
              <a:t>doubles</a:t>
            </a:r>
            <a:r>
              <a:rPr lang="es-ES" dirty="0"/>
              <a:t> - 1/2</a:t>
            </a:r>
          </a:p>
        </p:txBody>
      </p:sp>
      <p:sp>
        <p:nvSpPr>
          <p:cNvPr id="5" name="3 Marcador de contenido"/>
          <p:cNvSpPr txBox="1">
            <a:spLocks/>
          </p:cNvSpPr>
          <p:nvPr/>
        </p:nvSpPr>
        <p:spPr>
          <a:xfrm>
            <a:off x="3059832" y="2886500"/>
            <a:ext cx="5688632" cy="3278804"/>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just">
              <a:spcAft>
                <a:spcPts val="600"/>
              </a:spcAft>
            </a:pPr>
            <a:r>
              <a:rPr lang="es-ES" sz="1800" b="1" dirty="0"/>
              <a:t>Sirven para reemplazar un objeto real que es costoso en tiempo, recursos o es imposible de tener en entorno de prueba. </a:t>
            </a:r>
          </a:p>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b="1" dirty="0"/>
              <a:t>Dummys: </a:t>
            </a:r>
            <a:r>
              <a:rPr lang="es-ES" sz="1600" dirty="0"/>
              <a:t>solo sustituyen un objeto real; no serán utilizados para nada. Por ejemplo, son creados para rellenar argumentos de métodos que no serán utilizados en la prueba.</a:t>
            </a:r>
          </a:p>
          <a:p>
            <a:pPr marL="285750" indent="-285750" algn="just">
              <a:spcAft>
                <a:spcPts val="600"/>
              </a:spcAft>
              <a:buFont typeface="Arial" pitchFamily="34" charset="0"/>
              <a:buChar char="•"/>
            </a:pPr>
            <a:r>
              <a:rPr lang="es-ES" sz="1600" b="1" dirty="0"/>
              <a:t>Stubs</a:t>
            </a:r>
            <a:r>
              <a:rPr lang="es-ES" sz="1600" dirty="0"/>
              <a:t>: Objetos que son creados para sustituir un objeto que va a ofrecer uno o mas inputs de valor al método en prueba.  </a:t>
            </a:r>
          </a:p>
        </p:txBody>
      </p:sp>
      <p:pic>
        <p:nvPicPr>
          <p:cNvPr id="3" name="Imagem 2"/>
          <p:cNvPicPr>
            <a:picLocks noChangeAspect="1"/>
          </p:cNvPicPr>
          <p:nvPr/>
        </p:nvPicPr>
        <p:blipFill>
          <a:blip r:embed="rId2"/>
          <a:stretch>
            <a:fillRect/>
          </a:stretch>
        </p:blipFill>
        <p:spPr>
          <a:xfrm>
            <a:off x="683568" y="3068960"/>
            <a:ext cx="1905000" cy="1905000"/>
          </a:xfrm>
          <a:prstGeom prst="rect">
            <a:avLst/>
          </a:prstGeom>
        </p:spPr>
      </p:pic>
    </p:spTree>
    <p:extLst>
      <p:ext uri="{BB962C8B-B14F-4D97-AF65-F5344CB8AC3E}">
        <p14:creationId xmlns:p14="http://schemas.microsoft.com/office/powerpoint/2010/main" val="3238774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Test </a:t>
            </a:r>
            <a:r>
              <a:rPr lang="es-ES" dirty="0" err="1"/>
              <a:t>doubles</a:t>
            </a:r>
            <a:r>
              <a:rPr lang="es-ES" dirty="0"/>
              <a:t> – 2/2</a:t>
            </a:r>
          </a:p>
        </p:txBody>
      </p:sp>
      <p:sp>
        <p:nvSpPr>
          <p:cNvPr id="5" name="3 Marcador de contenido"/>
          <p:cNvSpPr txBox="1">
            <a:spLocks/>
          </p:cNvSpPr>
          <p:nvPr/>
        </p:nvSpPr>
        <p:spPr>
          <a:xfrm>
            <a:off x="3059832" y="2886500"/>
            <a:ext cx="5688632" cy="3062780"/>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b="1" dirty="0"/>
              <a:t>Fakes: </a:t>
            </a:r>
            <a:r>
              <a:rPr lang="es-ES" sz="1600" dirty="0"/>
              <a:t>Cuando hay dependencias que son mas complejas, por ejemplo cuando un determinado volumen de ítems en una compra van a motivar un descuento de valor, utilizamos los Fakes para poner la lógica necesaria para la prueba y evitar acceder a dependencias externas.</a:t>
            </a:r>
          </a:p>
          <a:p>
            <a:pPr marL="285750" indent="-285750" algn="just">
              <a:spcAft>
                <a:spcPts val="600"/>
              </a:spcAft>
              <a:buFont typeface="Arial" pitchFamily="34" charset="0"/>
              <a:buChar char="•"/>
            </a:pPr>
            <a:r>
              <a:rPr lang="es-ES" sz="1600" b="1" dirty="0"/>
              <a:t>Mocks</a:t>
            </a:r>
            <a:r>
              <a:rPr lang="es-ES" sz="1600" dirty="0"/>
              <a:t>: Verifican las salidas indirectas del método en prueba.  Por ejemplo, ofrecen un sustituto para los objetos que contienen métodos que serán llamados por el método en prueba. Aquí tenemos un cambio de verificación de estados para verificación de comportamientos.</a:t>
            </a:r>
          </a:p>
        </p:txBody>
      </p:sp>
      <p:pic>
        <p:nvPicPr>
          <p:cNvPr id="6" name="Imagem 5"/>
          <p:cNvPicPr>
            <a:picLocks noChangeAspect="1"/>
          </p:cNvPicPr>
          <p:nvPr/>
        </p:nvPicPr>
        <p:blipFill>
          <a:blip r:embed="rId2"/>
          <a:stretch>
            <a:fillRect/>
          </a:stretch>
        </p:blipFill>
        <p:spPr>
          <a:xfrm>
            <a:off x="683568" y="3068960"/>
            <a:ext cx="1905000" cy="1905000"/>
          </a:xfrm>
          <a:prstGeom prst="rect">
            <a:avLst/>
          </a:prstGeom>
        </p:spPr>
      </p:pic>
    </p:spTree>
    <p:extLst>
      <p:ext uri="{BB962C8B-B14F-4D97-AF65-F5344CB8AC3E}">
        <p14:creationId xmlns:p14="http://schemas.microsoft.com/office/powerpoint/2010/main" val="1457074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qué es una prueba unitaria?</a:t>
            </a:r>
          </a:p>
        </p:txBody>
      </p:sp>
      <p:sp>
        <p:nvSpPr>
          <p:cNvPr id="10" name="3 Marcador de contenido"/>
          <p:cNvSpPr>
            <a:spLocks noGrp="1"/>
          </p:cNvSpPr>
          <p:nvPr>
            <p:ph sz="half" idx="2"/>
          </p:nvPr>
        </p:nvSpPr>
        <p:spPr>
          <a:xfrm>
            <a:off x="395536" y="2276872"/>
            <a:ext cx="8136904" cy="4464496"/>
          </a:xfrm>
        </p:spPr>
        <p:txBody>
          <a:bodyPr tIns="0" bIns="0">
            <a:norm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algn="just">
              <a:spcAft>
                <a:spcPts val="600"/>
              </a:spcAft>
            </a:pPr>
            <a:r>
              <a:rPr lang="es-ES" sz="1600" dirty="0"/>
              <a:t>Para comprender que es una prueba unitaria es importante definir qué entendemos por “</a:t>
            </a:r>
            <a:r>
              <a:rPr lang="es-ES" sz="1600" b="1" dirty="0"/>
              <a:t>unidad</a:t>
            </a:r>
            <a:r>
              <a:rPr lang="es-ES" sz="1600" dirty="0"/>
              <a:t>”:</a:t>
            </a:r>
          </a:p>
          <a:p>
            <a:pPr marL="446088" algn="just">
              <a:spcAft>
                <a:spcPts val="600"/>
              </a:spcAft>
            </a:pPr>
            <a:endParaRPr lang="es-ES" sz="1600" i="1" dirty="0"/>
          </a:p>
          <a:p>
            <a:pPr algn="just">
              <a:spcAft>
                <a:spcPts val="600"/>
              </a:spcAft>
            </a:pPr>
            <a:endParaRPr lang="es-ES" sz="1600" dirty="0"/>
          </a:p>
          <a:p>
            <a:pPr algn="just">
              <a:spcAft>
                <a:spcPts val="600"/>
              </a:spcAft>
            </a:pPr>
            <a:r>
              <a:rPr lang="es-ES" sz="1600" dirty="0"/>
              <a:t>En el caso de Angular, la unidad es la función.</a:t>
            </a:r>
          </a:p>
          <a:p>
            <a:pPr algn="just">
              <a:spcAft>
                <a:spcPts val="600"/>
              </a:spcAft>
            </a:pPr>
            <a:r>
              <a:rPr lang="es-ES" sz="1600" dirty="0"/>
              <a:t>Entonces:</a:t>
            </a:r>
          </a:p>
          <a:p>
            <a:pPr algn="just">
              <a:spcAft>
                <a:spcPts val="600"/>
              </a:spcAft>
            </a:pPr>
            <a:endParaRPr lang="es-ES" sz="1600" dirty="0"/>
          </a:p>
          <a:p>
            <a:pPr algn="just">
              <a:spcAft>
                <a:spcPts val="600"/>
              </a:spcAft>
            </a:pPr>
            <a:endParaRPr lang="es-ES" sz="1600" dirty="0"/>
          </a:p>
          <a:p>
            <a:pPr algn="just">
              <a:spcAft>
                <a:spcPts val="600"/>
              </a:spcAft>
            </a:pPr>
            <a:endParaRPr lang="es-ES" sz="1600" dirty="0"/>
          </a:p>
          <a:p>
            <a:pPr algn="just">
              <a:spcAft>
                <a:spcPts val="600"/>
              </a:spcAft>
            </a:pPr>
            <a:r>
              <a:rPr lang="es-ES" sz="1600" dirty="0"/>
              <a:t>En Angular, el objetivo de las </a:t>
            </a:r>
            <a:r>
              <a:rPr lang="es-ES" sz="1600" b="1" dirty="0"/>
              <a:t>pruebas unitarias </a:t>
            </a:r>
            <a:r>
              <a:rPr lang="es-ES" sz="1600" dirty="0"/>
              <a:t>es probar el comportamiento de cada uno de las funciones del componente o servicio de manera aislada.</a:t>
            </a:r>
          </a:p>
          <a:p>
            <a:pPr algn="just">
              <a:spcAft>
                <a:spcPts val="600"/>
              </a:spcAft>
            </a:pPr>
            <a:r>
              <a:rPr lang="es-ES" sz="1600" dirty="0"/>
              <a:t>Se trata del primer nivel de pruebas que debe superar el código.</a:t>
            </a:r>
          </a:p>
        </p:txBody>
      </p:sp>
      <p:sp>
        <p:nvSpPr>
          <p:cNvPr id="5" name="3 Marcador de contenido"/>
          <p:cNvSpPr txBox="1">
            <a:spLocks/>
          </p:cNvSpPr>
          <p:nvPr/>
        </p:nvSpPr>
        <p:spPr>
          <a:xfrm>
            <a:off x="2843808" y="2708920"/>
            <a:ext cx="5040560" cy="3029312"/>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just">
              <a:spcAft>
                <a:spcPts val="600"/>
              </a:spcAft>
            </a:pPr>
            <a:r>
              <a:rPr lang="es-ES" sz="1600" i="1" dirty="0"/>
              <a:t>Una </a:t>
            </a:r>
            <a:r>
              <a:rPr lang="es-ES" sz="1600" b="1" i="1" dirty="0"/>
              <a:t>unidad</a:t>
            </a:r>
            <a:r>
              <a:rPr lang="es-ES" sz="1600" i="1" dirty="0"/>
              <a:t> es simplemente una porción de código o una funcionalidad que realiza una acción específica, de la cual podemos probar los resultados.</a:t>
            </a:r>
          </a:p>
          <a:p>
            <a:pPr algn="just">
              <a:spcAft>
                <a:spcPts val="600"/>
              </a:spcAft>
            </a:pPr>
            <a:endParaRPr lang="es-ES" sz="1600" i="1" dirty="0"/>
          </a:p>
          <a:p>
            <a:pPr algn="just">
              <a:spcAft>
                <a:spcPts val="600"/>
              </a:spcAft>
            </a:pPr>
            <a:endParaRPr lang="es-ES" sz="1600" i="1" dirty="0"/>
          </a:p>
          <a:p>
            <a:pPr algn="just">
              <a:spcAft>
                <a:spcPts val="600"/>
              </a:spcAft>
            </a:pPr>
            <a:r>
              <a:rPr lang="es-ES" sz="1600" i="1" dirty="0"/>
              <a:t>Una </a:t>
            </a:r>
            <a:r>
              <a:rPr lang="es-ES" sz="1600" b="1" i="1" dirty="0"/>
              <a:t>prueba unitaria</a:t>
            </a:r>
            <a:r>
              <a:rPr lang="es-ES" sz="1600" i="1" dirty="0"/>
              <a:t> es una prueba para asegurarnos que la porción de código o funcionalidad hace lo que debería hacer, independientemente del resto de la aplicación.</a:t>
            </a:r>
          </a:p>
        </p:txBody>
      </p:sp>
      <p:grpSp>
        <p:nvGrpSpPr>
          <p:cNvPr id="3" name="Grupo 2"/>
          <p:cNvGrpSpPr/>
          <p:nvPr/>
        </p:nvGrpSpPr>
        <p:grpSpPr>
          <a:xfrm>
            <a:off x="1640156" y="4216559"/>
            <a:ext cx="1131644" cy="1228665"/>
            <a:chOff x="1640156" y="4216559"/>
            <a:chExt cx="1131644" cy="1228665"/>
          </a:xfrm>
        </p:grpSpPr>
        <p:pic>
          <p:nvPicPr>
            <p:cNvPr id="8"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0156" y="4216559"/>
              <a:ext cx="1131644" cy="122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5 Imagen"/>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1933406" y="4429296"/>
              <a:ext cx="515609" cy="504252"/>
            </a:xfrm>
            <a:prstGeom prst="rect">
              <a:avLst/>
            </a:prstGeom>
          </p:spPr>
        </p:pic>
      </p:grpSp>
      <p:pic>
        <p:nvPicPr>
          <p:cNvPr id="7" name="6 Image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1815505" y="2585095"/>
            <a:ext cx="739140" cy="986790"/>
          </a:xfrm>
          <a:prstGeom prst="rect">
            <a:avLst/>
          </a:prstGeom>
        </p:spPr>
      </p:pic>
    </p:spTree>
    <p:extLst>
      <p:ext uri="{BB962C8B-B14F-4D97-AF65-F5344CB8AC3E}">
        <p14:creationId xmlns:p14="http://schemas.microsoft.com/office/powerpoint/2010/main" val="888148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xEl>
                                              <p:pRg st="3" end="3"/>
                                            </p:txEl>
                                          </p:spTgt>
                                        </p:tgtEl>
                                        <p:attrNameLst>
                                          <p:attrName>style.visibility</p:attrName>
                                        </p:attrNameLst>
                                      </p:cBhvr>
                                      <p:to>
                                        <p:strVal val="visible"/>
                                      </p:to>
                                    </p:set>
                                    <p:animEffect transition="in" filter="fade">
                                      <p:cBhvr>
                                        <p:cTn id="20" dur="500"/>
                                        <p:tgtEl>
                                          <p:spTgt spid="10">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ntr" presetSubtype="0" fill="hold" nodeType="with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Effect transition="in" filter="fade">
                                      <p:cBhvr>
                                        <p:cTn id="31" dur="500"/>
                                        <p:tgtEl>
                                          <p:spTgt spid="5">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xEl>
                                              <p:pRg st="8" end="8"/>
                                            </p:txEl>
                                          </p:spTgt>
                                        </p:tgtEl>
                                        <p:attrNameLst>
                                          <p:attrName>style.visibility</p:attrName>
                                        </p:attrNameLst>
                                      </p:cBhvr>
                                      <p:to>
                                        <p:strVal val="visible"/>
                                      </p:to>
                                    </p:set>
                                    <p:animEffect transition="in" filter="fade">
                                      <p:cBhvr>
                                        <p:cTn id="36" dur="500"/>
                                        <p:tgtEl>
                                          <p:spTgt spid="10">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xEl>
                                              <p:pRg st="9" end="9"/>
                                            </p:txEl>
                                          </p:spTgt>
                                        </p:tgtEl>
                                        <p:attrNameLst>
                                          <p:attrName>style.visibility</p:attrName>
                                        </p:attrNameLst>
                                      </p:cBhvr>
                                      <p:to>
                                        <p:strVal val="visible"/>
                                      </p:to>
                                    </p:set>
                                    <p:animEffect transition="in" filter="fade">
                                      <p:cBhvr>
                                        <p:cTn id="39" dur="500"/>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396718" y="1988840"/>
            <a:ext cx="8280000" cy="1368152"/>
          </a:xfrm>
        </p:spPr>
        <p:txBody>
          <a:bodyPr>
            <a:normAutofit/>
          </a:bodyPr>
          <a:lstStyle/>
          <a:p>
            <a:r>
              <a:rPr lang="es-CL" sz="4800" dirty="0"/>
              <a:t>Ejercicio</a:t>
            </a:r>
          </a:p>
        </p:txBody>
      </p:sp>
      <p:sp>
        <p:nvSpPr>
          <p:cNvPr id="2" name="Marcador de contenido 1"/>
          <p:cNvSpPr>
            <a:spLocks noGrp="1"/>
          </p:cNvSpPr>
          <p:nvPr>
            <p:ph type="body" idx="1"/>
          </p:nvPr>
        </p:nvSpPr>
        <p:spPr>
          <a:xfrm>
            <a:off x="396718" y="2924944"/>
            <a:ext cx="8280000" cy="432048"/>
          </a:xfrm>
        </p:spPr>
        <p:txBody>
          <a:bodyPr>
            <a:normAutofit fontScale="77500" lnSpcReduction="20000"/>
          </a:bodyPr>
          <a:lstStyle/>
          <a:p>
            <a:r>
              <a:rPr lang="es-CL" dirty="0"/>
              <a:t>En el  componente “Calculadora” completar las otras tres operaciones básicas con TDD</a:t>
            </a:r>
          </a:p>
        </p:txBody>
      </p:sp>
    </p:spTree>
    <p:extLst>
      <p:ext uri="{BB962C8B-B14F-4D97-AF65-F5344CB8AC3E}">
        <p14:creationId xmlns:p14="http://schemas.microsoft.com/office/powerpoint/2010/main" val="755810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Ejemplo practico - requerimiento</a:t>
            </a:r>
          </a:p>
        </p:txBody>
      </p:sp>
      <p:sp>
        <p:nvSpPr>
          <p:cNvPr id="5" name="3 Marcador de contenido"/>
          <p:cNvSpPr txBox="1">
            <a:spLocks/>
          </p:cNvSpPr>
          <p:nvPr/>
        </p:nvSpPr>
        <p:spPr>
          <a:xfrm>
            <a:off x="3131840" y="2204864"/>
            <a:ext cx="5688632" cy="3062780"/>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b="1" dirty="0"/>
              <a:t>Como dueño de una casa de cambio, necesito obtener una forma de poder calcular el cambio de moneda desde peso chileno (CLP) a USD y EUR. Además, si se quiere enviar dinero, se aplicará un cobro adicional a la venta de USD o EUR (10%).</a:t>
            </a:r>
            <a:endParaRPr lang="es-ES" sz="2200" b="1" dirty="0"/>
          </a:p>
        </p:txBody>
      </p:sp>
      <p:graphicFrame>
        <p:nvGraphicFramePr>
          <p:cNvPr id="2" name="Tabla 1"/>
          <p:cNvGraphicFramePr>
            <a:graphicFrameLocks noGrp="1"/>
          </p:cNvGraphicFramePr>
          <p:nvPr>
            <p:extLst>
              <p:ext uri="{D42A27DB-BD31-4B8C-83A1-F6EECF244321}">
                <p14:modId xmlns:p14="http://schemas.microsoft.com/office/powerpoint/2010/main" val="3394646339"/>
              </p:ext>
            </p:extLst>
          </p:nvPr>
        </p:nvGraphicFramePr>
        <p:xfrm>
          <a:off x="539552" y="4609469"/>
          <a:ext cx="3600399" cy="1627842"/>
        </p:xfrm>
        <a:graphic>
          <a:graphicData uri="http://schemas.openxmlformats.org/drawingml/2006/table">
            <a:tbl>
              <a:tblPr firstRow="1" bandRow="1">
                <a:tableStyleId>{F5AB1C69-6EDB-4FF4-983F-18BD219EF322}</a:tableStyleId>
              </a:tblPr>
              <a:tblGrid>
                <a:gridCol w="1200133">
                  <a:extLst>
                    <a:ext uri="{9D8B030D-6E8A-4147-A177-3AD203B41FA5}">
                      <a16:colId xmlns:a16="http://schemas.microsoft.com/office/drawing/2014/main" val="20000"/>
                    </a:ext>
                  </a:extLst>
                </a:gridCol>
                <a:gridCol w="1200133">
                  <a:extLst>
                    <a:ext uri="{9D8B030D-6E8A-4147-A177-3AD203B41FA5}">
                      <a16:colId xmlns:a16="http://schemas.microsoft.com/office/drawing/2014/main" val="20001"/>
                    </a:ext>
                  </a:extLst>
                </a:gridCol>
                <a:gridCol w="1200133">
                  <a:extLst>
                    <a:ext uri="{9D8B030D-6E8A-4147-A177-3AD203B41FA5}">
                      <a16:colId xmlns:a16="http://schemas.microsoft.com/office/drawing/2014/main" val="20002"/>
                    </a:ext>
                  </a:extLst>
                </a:gridCol>
              </a:tblGrid>
              <a:tr h="542614">
                <a:tc>
                  <a:txBody>
                    <a:bodyPr/>
                    <a:lstStyle/>
                    <a:p>
                      <a:pPr algn="ctr"/>
                      <a:r>
                        <a:rPr lang="es-CL" u="none" dirty="0"/>
                        <a:t>CLP</a:t>
                      </a:r>
                    </a:p>
                  </a:txBody>
                  <a:tcPr/>
                </a:tc>
                <a:tc>
                  <a:txBody>
                    <a:bodyPr/>
                    <a:lstStyle/>
                    <a:p>
                      <a:pPr algn="ctr"/>
                      <a:r>
                        <a:rPr lang="es-CL" dirty="0"/>
                        <a:t>USD</a:t>
                      </a:r>
                    </a:p>
                  </a:txBody>
                  <a:tcPr/>
                </a:tc>
                <a:tc>
                  <a:txBody>
                    <a:bodyPr/>
                    <a:lstStyle/>
                    <a:p>
                      <a:pPr algn="ctr"/>
                      <a:r>
                        <a:rPr lang="es-CL" dirty="0"/>
                        <a:t>EUR</a:t>
                      </a:r>
                    </a:p>
                  </a:txBody>
                  <a:tcPr/>
                </a:tc>
                <a:extLst>
                  <a:ext uri="{0D108BD9-81ED-4DB2-BD59-A6C34878D82A}">
                    <a16:rowId xmlns:a16="http://schemas.microsoft.com/office/drawing/2014/main" val="10000"/>
                  </a:ext>
                </a:extLst>
              </a:tr>
              <a:tr h="542614">
                <a:tc>
                  <a:txBody>
                    <a:bodyPr/>
                    <a:lstStyle/>
                    <a:p>
                      <a:pPr algn="ctr"/>
                      <a:r>
                        <a:rPr lang="es-CL" dirty="0"/>
                        <a:t>830</a:t>
                      </a:r>
                    </a:p>
                  </a:txBody>
                  <a:tcPr/>
                </a:tc>
                <a:tc>
                  <a:txBody>
                    <a:bodyPr/>
                    <a:lstStyle/>
                    <a:p>
                      <a:pPr algn="ctr"/>
                      <a:r>
                        <a:rPr lang="es-CL" dirty="0"/>
                        <a:t>1</a:t>
                      </a:r>
                    </a:p>
                  </a:txBody>
                  <a:tcPr/>
                </a:tc>
                <a:tc>
                  <a:txBody>
                    <a:bodyPr/>
                    <a:lstStyle/>
                    <a:p>
                      <a:pPr algn="ctr"/>
                      <a:r>
                        <a:rPr lang="es-CL" dirty="0"/>
                        <a:t>--</a:t>
                      </a:r>
                    </a:p>
                  </a:txBody>
                  <a:tcPr/>
                </a:tc>
                <a:extLst>
                  <a:ext uri="{0D108BD9-81ED-4DB2-BD59-A6C34878D82A}">
                    <a16:rowId xmlns:a16="http://schemas.microsoft.com/office/drawing/2014/main" val="10001"/>
                  </a:ext>
                </a:extLst>
              </a:tr>
              <a:tr h="542614">
                <a:tc>
                  <a:txBody>
                    <a:bodyPr/>
                    <a:lstStyle/>
                    <a:p>
                      <a:pPr algn="ctr"/>
                      <a:r>
                        <a:rPr lang="es-CL" dirty="0"/>
                        <a:t>940</a:t>
                      </a:r>
                    </a:p>
                  </a:txBody>
                  <a:tcPr/>
                </a:tc>
                <a:tc>
                  <a:txBody>
                    <a:bodyPr/>
                    <a:lstStyle/>
                    <a:p>
                      <a:pPr algn="ctr"/>
                      <a:r>
                        <a:rPr lang="es-CL" dirty="0"/>
                        <a:t>--</a:t>
                      </a:r>
                    </a:p>
                  </a:txBody>
                  <a:tcPr/>
                </a:tc>
                <a:tc>
                  <a:txBody>
                    <a:bodyPr/>
                    <a:lstStyle/>
                    <a:p>
                      <a:pPr algn="ctr"/>
                      <a:r>
                        <a:rPr lang="es-CL" dirty="0"/>
                        <a:t>1</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644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Ejemplo practico</a:t>
            </a:r>
          </a:p>
        </p:txBody>
      </p:sp>
      <p:pic>
        <p:nvPicPr>
          <p:cNvPr id="2052" name="Picture 4" descr="https://i1.wp.com/beamaker.club/wp-content/uploads/2017/12/programming-icon.jpg?fit=1080%2C1080&amp;ssl=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99792" y="2636912"/>
            <a:ext cx="3672408" cy="3672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304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Ejemplo practico</a:t>
            </a:r>
          </a:p>
        </p:txBody>
      </p:sp>
      <p:sp>
        <p:nvSpPr>
          <p:cNvPr id="5" name="3 Marcador de contenido"/>
          <p:cNvSpPr txBox="1">
            <a:spLocks/>
          </p:cNvSpPr>
          <p:nvPr/>
        </p:nvSpPr>
        <p:spPr>
          <a:xfrm>
            <a:off x="3059832" y="2276872"/>
            <a:ext cx="5688632" cy="4464496"/>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sz="1600" dirty="0"/>
              <a:t>Crear un nuevo proyecto en Angular</a:t>
            </a:r>
          </a:p>
          <a:p>
            <a:pPr marL="285750" indent="-285750" algn="just">
              <a:spcAft>
                <a:spcPts val="600"/>
              </a:spcAft>
              <a:buFont typeface="Arial" pitchFamily="34" charset="0"/>
              <a:buChar char="•"/>
            </a:pPr>
            <a:r>
              <a:rPr lang="es-ES" sz="1600" dirty="0"/>
              <a:t>Crear una clase de prueba del método que voy a implementar</a:t>
            </a:r>
          </a:p>
          <a:p>
            <a:pPr marL="285750" indent="-285750" algn="just">
              <a:spcAft>
                <a:spcPts val="600"/>
              </a:spcAft>
              <a:buFont typeface="Arial" pitchFamily="34" charset="0"/>
              <a:buChar char="•"/>
            </a:pPr>
            <a:r>
              <a:rPr lang="es-ES" sz="1600" dirty="0"/>
              <a:t>Escribe su primer método como si la clase ya existiese. (el nombre del método debe indicar el escenario a probar)</a:t>
            </a:r>
          </a:p>
          <a:p>
            <a:pPr marL="285750" indent="-285750" algn="just">
              <a:spcAft>
                <a:spcPts val="600"/>
              </a:spcAft>
              <a:buFont typeface="Arial" pitchFamily="34" charset="0"/>
              <a:buChar char="•"/>
            </a:pPr>
            <a:r>
              <a:rPr lang="es-ES" sz="1600" dirty="0"/>
              <a:t>Utilizar en terminal el comando </a:t>
            </a:r>
            <a:r>
              <a:rPr lang="es-ES" sz="1600" b="1" dirty="0" err="1"/>
              <a:t>ng</a:t>
            </a:r>
            <a:r>
              <a:rPr lang="es-ES" sz="1600" b="1" dirty="0"/>
              <a:t> test, </a:t>
            </a:r>
            <a:r>
              <a:rPr lang="es-ES" sz="1600" dirty="0"/>
              <a:t>para que el test sea ejecutado.</a:t>
            </a:r>
          </a:p>
          <a:p>
            <a:pPr marL="285750" indent="-285750" algn="just">
              <a:spcAft>
                <a:spcPts val="600"/>
              </a:spcAft>
              <a:buFont typeface="Arial" pitchFamily="34" charset="0"/>
              <a:buChar char="•"/>
            </a:pPr>
            <a:r>
              <a:rPr lang="es-ES" sz="1600" dirty="0"/>
              <a:t>Hacer el mínimo para que el test pase (</a:t>
            </a:r>
            <a:r>
              <a:rPr lang="es-ES" sz="1600" dirty="0" err="1"/>
              <a:t>hard</a:t>
            </a:r>
            <a:r>
              <a:rPr lang="es-ES" sz="1600" dirty="0"/>
              <a:t> </a:t>
            </a:r>
            <a:r>
              <a:rPr lang="es-ES" sz="1600" dirty="0" err="1"/>
              <a:t>code</a:t>
            </a:r>
            <a:r>
              <a:rPr lang="es-ES" sz="1600" dirty="0"/>
              <a:t>).</a:t>
            </a:r>
          </a:p>
          <a:p>
            <a:pPr marL="285750" indent="-285750" algn="just">
              <a:spcAft>
                <a:spcPts val="600"/>
              </a:spcAft>
              <a:buFont typeface="Arial" pitchFamily="34" charset="0"/>
              <a:buChar char="•"/>
            </a:pPr>
            <a:r>
              <a:rPr lang="es-ES" sz="1600" dirty="0"/>
              <a:t>Crea nuevo test con otros escenarios.</a:t>
            </a:r>
          </a:p>
          <a:p>
            <a:pPr marL="285750" indent="-285750" algn="just">
              <a:spcAft>
                <a:spcPts val="600"/>
              </a:spcAft>
              <a:buFont typeface="Arial" pitchFamily="34" charset="0"/>
              <a:buChar char="•"/>
            </a:pPr>
            <a:r>
              <a:rPr lang="es-ES" sz="1600" dirty="0"/>
              <a:t>Hace el </a:t>
            </a:r>
            <a:r>
              <a:rPr lang="es-ES" sz="1600" dirty="0" err="1"/>
              <a:t>refactoring</a:t>
            </a:r>
            <a:r>
              <a:rPr lang="es-ES" sz="1600" dirty="0"/>
              <a:t>: implementar lógica de calculo, mínimo esfuerzo.</a:t>
            </a:r>
          </a:p>
          <a:p>
            <a:pPr marL="285750" indent="-285750" algn="just">
              <a:spcAft>
                <a:spcPts val="600"/>
              </a:spcAft>
              <a:buFont typeface="Arial" pitchFamily="34" charset="0"/>
              <a:buChar char="•"/>
            </a:pPr>
            <a:r>
              <a:rPr lang="es-ES" sz="1600" dirty="0"/>
              <a:t>Crea nuevo test con otros escenarios</a:t>
            </a:r>
          </a:p>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endParaRPr lang="es-ES" sz="1600" dirty="0"/>
          </a:p>
        </p:txBody>
      </p:sp>
    </p:spTree>
    <p:extLst>
      <p:ext uri="{BB962C8B-B14F-4D97-AF65-F5344CB8AC3E}">
        <p14:creationId xmlns:p14="http://schemas.microsoft.com/office/powerpoint/2010/main" val="1828533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TDD – </a:t>
            </a:r>
            <a:r>
              <a:rPr lang="en-US" dirty="0"/>
              <a:t>Test Driven Development</a:t>
            </a:r>
          </a:p>
        </p:txBody>
      </p:sp>
      <p:sp>
        <p:nvSpPr>
          <p:cNvPr id="4" name="2 Marcador de texto"/>
          <p:cNvSpPr>
            <a:spLocks noGrp="1"/>
          </p:cNvSpPr>
          <p:nvPr>
            <p:ph type="body" idx="1"/>
          </p:nvPr>
        </p:nvSpPr>
        <p:spPr>
          <a:xfrm>
            <a:off x="395536" y="1844824"/>
            <a:ext cx="8280920" cy="432048"/>
          </a:xfrm>
        </p:spPr>
        <p:txBody>
          <a:bodyPr/>
          <a:lstStyle/>
          <a:p>
            <a:r>
              <a:rPr lang="es-ES" dirty="0"/>
              <a:t>Ejemplo – requerimientos ajustados</a:t>
            </a:r>
          </a:p>
        </p:txBody>
      </p:sp>
      <p:sp>
        <p:nvSpPr>
          <p:cNvPr id="5" name="3 Marcador de contenido"/>
          <p:cNvSpPr txBox="1">
            <a:spLocks/>
          </p:cNvSpPr>
          <p:nvPr/>
        </p:nvSpPr>
        <p:spPr>
          <a:xfrm>
            <a:off x="3059832" y="2886500"/>
            <a:ext cx="5688632" cy="3062780"/>
          </a:xfrm>
          <a:prstGeom prst="rect">
            <a:avLst/>
          </a:prstGeom>
        </p:spPr>
        <p:txBody>
          <a:bodyPr vert="horz" lIns="91440" tIns="0" rIns="91440" bIns="0" rtlCol="0">
            <a:no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endParaRPr lang="es-ES" sz="1600" dirty="0"/>
          </a:p>
          <a:p>
            <a:pPr marL="285750" indent="-285750" algn="just">
              <a:spcAft>
                <a:spcPts val="600"/>
              </a:spcAft>
              <a:buFont typeface="Arial" pitchFamily="34" charset="0"/>
              <a:buChar char="•"/>
            </a:pPr>
            <a:r>
              <a:rPr lang="es-ES" sz="1600" b="1" dirty="0"/>
              <a:t>Como administrador de una Liberia, quiero consultar en mi repositorio local (</a:t>
            </a:r>
            <a:r>
              <a:rPr lang="es-ES" sz="1600" b="1" dirty="0" err="1"/>
              <a:t>localStorage</a:t>
            </a:r>
            <a:r>
              <a:rPr lang="es-ES" sz="1600" b="1" dirty="0"/>
              <a:t>) la información (titulo, autor, año publicación) de un libro mediante su código ISBN, en caso de no contar con la información consultar la información en Internet.</a:t>
            </a:r>
            <a:endParaRPr lang="es-ES" sz="2200" b="1" dirty="0"/>
          </a:p>
          <a:p>
            <a:pPr marL="285750" indent="-285750" algn="just">
              <a:spcAft>
                <a:spcPts val="600"/>
              </a:spcAft>
              <a:buFont typeface="Arial" pitchFamily="34" charset="0"/>
              <a:buChar char="•"/>
            </a:pPr>
            <a:r>
              <a:rPr lang="es-ES" sz="1600" b="1" dirty="0"/>
              <a:t>Supuestos</a:t>
            </a:r>
            <a:r>
              <a:rPr lang="es-ES" sz="2200" b="1" dirty="0"/>
              <a:t>:</a:t>
            </a:r>
          </a:p>
          <a:p>
            <a:pPr marL="1028700" lvl="1" algn="just">
              <a:spcAft>
                <a:spcPts val="600"/>
              </a:spcAft>
              <a:buFont typeface="Arial" pitchFamily="34" charset="0"/>
              <a:buChar char="•"/>
            </a:pPr>
            <a:r>
              <a:rPr lang="es-ES" sz="1600" b="1" dirty="0">
                <a:solidFill>
                  <a:schemeClr val="tx1">
                    <a:lumMod val="50000"/>
                    <a:lumOff val="50000"/>
                  </a:schemeClr>
                </a:solidFill>
                <a:latin typeface="Arial" pitchFamily="34" charset="0"/>
                <a:cs typeface="Arial" pitchFamily="34" charset="0"/>
              </a:rPr>
              <a:t>El código ISBN es validado anteriormente, por lo cual siempre es valido.</a:t>
            </a:r>
          </a:p>
          <a:p>
            <a:pPr marL="1028700" lvl="1" algn="just">
              <a:spcAft>
                <a:spcPts val="600"/>
              </a:spcAft>
              <a:buFont typeface="Arial" pitchFamily="34" charset="0"/>
              <a:buChar char="•"/>
            </a:pPr>
            <a:r>
              <a:rPr lang="es-ES" sz="1600" b="1" dirty="0">
                <a:solidFill>
                  <a:schemeClr val="tx1">
                    <a:lumMod val="50000"/>
                    <a:lumOff val="50000"/>
                  </a:schemeClr>
                </a:solidFill>
                <a:latin typeface="Arial" pitchFamily="34" charset="0"/>
                <a:cs typeface="Arial" pitchFamily="34" charset="0"/>
              </a:rPr>
              <a:t>Información de internet se consultara por un servicio, cada consulta realizada genera un costo adicional a la biblioteca</a:t>
            </a:r>
          </a:p>
        </p:txBody>
      </p:sp>
      <p:pic>
        <p:nvPicPr>
          <p:cNvPr id="6" name="Picture 2" descr="Resultado de imagem para requerimiento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616" y="2636912"/>
            <a:ext cx="2304256" cy="2439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8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_tradnl" dirty="0"/>
              <a:t>TDD – </a:t>
            </a:r>
            <a:r>
              <a:rPr lang="en-US" dirty="0"/>
              <a:t>Test Driven Development</a:t>
            </a:r>
            <a:endParaRPr lang="es-CL" dirty="0"/>
          </a:p>
        </p:txBody>
      </p:sp>
      <p:sp>
        <p:nvSpPr>
          <p:cNvPr id="3" name="Marcador de texto 2"/>
          <p:cNvSpPr>
            <a:spLocks noGrp="1"/>
          </p:cNvSpPr>
          <p:nvPr>
            <p:ph type="body" idx="1"/>
          </p:nvPr>
        </p:nvSpPr>
        <p:spPr/>
        <p:txBody>
          <a:bodyPr/>
          <a:lstStyle/>
          <a:p>
            <a:r>
              <a:rPr lang="es-ES" dirty="0"/>
              <a:t>Ejemplo – requerimientos ajustados</a:t>
            </a:r>
          </a:p>
        </p:txBody>
      </p:sp>
      <p:sp>
        <p:nvSpPr>
          <p:cNvPr id="4" name="Marcador de contenido 3"/>
          <p:cNvSpPr>
            <a:spLocks noGrp="1"/>
          </p:cNvSpPr>
          <p:nvPr>
            <p:ph sz="half" idx="2"/>
          </p:nvPr>
        </p:nvSpPr>
        <p:spPr/>
        <p:txBody>
          <a:bodyPr>
            <a:normAutofit fontScale="92500"/>
          </a:bodyPr>
          <a:lstStyle/>
          <a:p>
            <a:r>
              <a:rPr lang="es-CL" dirty="0" err="1"/>
              <a:t>ExpertBank</a:t>
            </a:r>
            <a:r>
              <a:rPr lang="es-CL" dirty="0"/>
              <a:t>, por lanzamiento a la bolsa requiere implementar un sistema capaz de manejar la información relacionada con las cuentas de los clientes. Para esto se debe considerar:</a:t>
            </a:r>
          </a:p>
          <a:p>
            <a:pPr marL="285750" indent="-285750">
              <a:buFont typeface="Wingdings" panose="05000000000000000000" pitchFamily="2" charset="2"/>
              <a:buChar char="q"/>
            </a:pPr>
            <a:r>
              <a:rPr lang="es-CL" dirty="0"/>
              <a:t>Cada cliente tiene su información personal básica (nombre, apellido, </a:t>
            </a:r>
            <a:r>
              <a:rPr lang="es-CL" dirty="0" err="1"/>
              <a:t>rut</a:t>
            </a:r>
            <a:r>
              <a:rPr lang="es-CL" dirty="0"/>
              <a:t>, correo, teléfono).</a:t>
            </a:r>
          </a:p>
          <a:p>
            <a:pPr marL="285750" indent="-285750">
              <a:buFont typeface="Wingdings" panose="05000000000000000000" pitchFamily="2" charset="2"/>
              <a:buChar char="q"/>
            </a:pPr>
            <a:r>
              <a:rPr lang="es-CL" dirty="0"/>
              <a:t>Una cuenta puede ser corriente, de ahorro o vista.</a:t>
            </a:r>
          </a:p>
          <a:p>
            <a:pPr marL="285750" indent="-285750">
              <a:buFont typeface="Wingdings" panose="05000000000000000000" pitchFamily="2" charset="2"/>
              <a:buChar char="q"/>
            </a:pPr>
            <a:r>
              <a:rPr lang="es-CL" dirty="0"/>
              <a:t>Los clientes del banco tienen beneficios en cuanto al monto total de la línea de crédito relacionada a la cuenta corriente.</a:t>
            </a:r>
          </a:p>
          <a:p>
            <a:pPr marL="285750" indent="-285750">
              <a:buFont typeface="Wingdings" panose="05000000000000000000" pitchFamily="2" charset="2"/>
              <a:buChar char="q"/>
            </a:pPr>
            <a:r>
              <a:rPr lang="es-CL" dirty="0"/>
              <a:t>Puede tener un máximo de 5 cuentas asociadas al </a:t>
            </a:r>
            <a:r>
              <a:rPr lang="es-CL" dirty="0" err="1"/>
              <a:t>rut</a:t>
            </a:r>
            <a:r>
              <a:rPr lang="es-CL" dirty="0"/>
              <a:t> de cada cliente (hacer funciones de agregar y eliminar cuentas. En el caso de agregar, si supera las 5 cuentas, debe enviar un mensaje de error).</a:t>
            </a:r>
          </a:p>
          <a:p>
            <a:pPr marL="285750" indent="-285750">
              <a:buFont typeface="Wingdings" panose="05000000000000000000" pitchFamily="2" charset="2"/>
              <a:buChar char="q"/>
            </a:pPr>
            <a:r>
              <a:rPr lang="es-CL" dirty="0"/>
              <a:t>Debe existir una función que me permita buscar un tipo de cuenta específica (ahorro, corriente o vista) asociada a un cliente dado por </a:t>
            </a:r>
            <a:r>
              <a:rPr lang="es-CL" dirty="0" err="1"/>
              <a:t>rut</a:t>
            </a:r>
            <a:r>
              <a:rPr lang="es-CL" dirty="0"/>
              <a:t>. En caso de no encontrar, mostrar mensaje asociado.</a:t>
            </a:r>
          </a:p>
          <a:p>
            <a:pPr marL="285750" indent="-285750">
              <a:buFont typeface="Wingdings" panose="05000000000000000000" pitchFamily="2" charset="2"/>
              <a:buChar char="q"/>
            </a:pPr>
            <a:endParaRPr lang="es-CL" dirty="0"/>
          </a:p>
          <a:p>
            <a:r>
              <a:rPr lang="es-CL" dirty="0"/>
              <a:t>Supuestos: Los datos ingresado son válidos (</a:t>
            </a:r>
            <a:r>
              <a:rPr lang="es-CL" dirty="0" err="1"/>
              <a:t>rut</a:t>
            </a:r>
            <a:r>
              <a:rPr lang="es-CL" dirty="0"/>
              <a:t> y tipo </a:t>
            </a:r>
            <a:r>
              <a:rPr lang="es-CL"/>
              <a:t>de cuentas).</a:t>
            </a:r>
            <a:endParaRPr lang="es-CL" dirty="0"/>
          </a:p>
        </p:txBody>
      </p:sp>
    </p:spTree>
    <p:extLst>
      <p:ext uri="{BB962C8B-B14F-4D97-AF65-F5344CB8AC3E}">
        <p14:creationId xmlns:p14="http://schemas.microsoft.com/office/powerpoint/2010/main" val="3369662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251520" y="3356992"/>
            <a:ext cx="7200800" cy="1728192"/>
          </a:xfrm>
        </p:spPr>
        <p:txBody>
          <a:bodyPr/>
          <a:lstStyle/>
          <a:p>
            <a:r>
              <a:rPr lang="es-CL" sz="4800" dirty="0"/>
              <a:t>TESTING UNITARIO</a:t>
            </a:r>
          </a:p>
        </p:txBody>
      </p:sp>
      <p:sp>
        <p:nvSpPr>
          <p:cNvPr id="2" name="Marcador de contenido 1"/>
          <p:cNvSpPr>
            <a:spLocks noGrp="1"/>
          </p:cNvSpPr>
          <p:nvPr>
            <p:ph type="subTitle" idx="1"/>
          </p:nvPr>
        </p:nvSpPr>
        <p:spPr/>
        <p:txBody>
          <a:bodyPr/>
          <a:lstStyle/>
          <a:p>
            <a:r>
              <a:rPr lang="pt-BR" dirty="0"/>
              <a:t>Utilizando Angular – Conceptos Básicos</a:t>
            </a:r>
            <a:endParaRPr lang="es-CL" dirty="0"/>
          </a:p>
        </p:txBody>
      </p:sp>
    </p:spTree>
    <p:extLst>
      <p:ext uri="{BB962C8B-B14F-4D97-AF65-F5344CB8AC3E}">
        <p14:creationId xmlns:p14="http://schemas.microsoft.com/office/powerpoint/2010/main" val="885757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2 Rectángulo redondeado"/>
          <p:cNvSpPr/>
          <p:nvPr/>
        </p:nvSpPr>
        <p:spPr>
          <a:xfrm>
            <a:off x="171128" y="2420888"/>
            <a:ext cx="2384648" cy="3960440"/>
          </a:xfrm>
          <a:prstGeom prst="roundRect">
            <a:avLst/>
          </a:prstGeom>
          <a:gradFill>
            <a:gsLst>
              <a:gs pos="0">
                <a:schemeClr val="tx1">
                  <a:lumMod val="50000"/>
                  <a:lumOff val="50000"/>
                </a:schemeClr>
              </a:gs>
              <a:gs pos="52000">
                <a:schemeClr val="bg1">
                  <a:lumMod val="65000"/>
                </a:schemeClr>
              </a:gs>
              <a:gs pos="100000">
                <a:schemeClr val="bg2">
                  <a:lumMod val="40000"/>
                  <a:lumOff val="60000"/>
                </a:schemeClr>
              </a:gs>
            </a:gsLst>
          </a:gradFill>
        </p:spPr>
        <p:style>
          <a:lnRef idx="0">
            <a:schemeClr val="accent4"/>
          </a:lnRef>
          <a:fillRef idx="3">
            <a:schemeClr val="accent4"/>
          </a:fillRef>
          <a:effectRef idx="3">
            <a:schemeClr val="accent4"/>
          </a:effectRef>
          <a:fontRef idx="minor">
            <a:schemeClr val="lt1"/>
          </a:fontRef>
        </p:style>
        <p:txBody>
          <a:bodyPr rtlCol="0" anchor="t"/>
          <a:lstStyle/>
          <a:p>
            <a:pPr algn="ctr"/>
            <a:r>
              <a:rPr lang="es-ES" dirty="0"/>
              <a:t>Pruebas de Aceptación</a:t>
            </a:r>
          </a:p>
        </p:txBody>
      </p:sp>
      <p:sp>
        <p:nvSpPr>
          <p:cNvPr id="12" name="11 Rectángulo redondeado"/>
          <p:cNvSpPr/>
          <p:nvPr/>
        </p:nvSpPr>
        <p:spPr>
          <a:xfrm>
            <a:off x="315144" y="3597032"/>
            <a:ext cx="2096616" cy="2784296"/>
          </a:xfrm>
          <a:prstGeom prst="roundRect">
            <a:avLst/>
          </a:prstGeom>
          <a:gradFill>
            <a:gsLst>
              <a:gs pos="0">
                <a:schemeClr val="tx1">
                  <a:lumMod val="50000"/>
                  <a:lumOff val="50000"/>
                </a:schemeClr>
              </a:gs>
              <a:gs pos="52000">
                <a:schemeClr val="bg1">
                  <a:lumMod val="65000"/>
                </a:schemeClr>
              </a:gs>
              <a:gs pos="100000">
                <a:schemeClr val="bg2">
                  <a:lumMod val="40000"/>
                  <a:lumOff val="60000"/>
                </a:schemeClr>
              </a:gs>
            </a:gsLst>
          </a:gradFill>
        </p:spPr>
        <p:style>
          <a:lnRef idx="0">
            <a:schemeClr val="accent4"/>
          </a:lnRef>
          <a:fillRef idx="3">
            <a:schemeClr val="accent4"/>
          </a:fillRef>
          <a:effectRef idx="3">
            <a:schemeClr val="accent4"/>
          </a:effectRef>
          <a:fontRef idx="minor">
            <a:schemeClr val="lt1"/>
          </a:fontRef>
        </p:style>
        <p:txBody>
          <a:bodyPr rtlCol="0" anchor="t"/>
          <a:lstStyle/>
          <a:p>
            <a:pPr algn="ctr"/>
            <a:r>
              <a:rPr lang="es-ES" dirty="0"/>
              <a:t>Pruebas de Sistema</a:t>
            </a:r>
          </a:p>
        </p:txBody>
      </p:sp>
      <p:sp>
        <p:nvSpPr>
          <p:cNvPr id="11" name="10 Rectángulo redondeado"/>
          <p:cNvSpPr/>
          <p:nvPr/>
        </p:nvSpPr>
        <p:spPr>
          <a:xfrm>
            <a:off x="535360" y="4685536"/>
            <a:ext cx="1656184" cy="1695792"/>
          </a:xfrm>
          <a:prstGeom prst="roundRect">
            <a:avLst/>
          </a:prstGeom>
          <a:gradFill>
            <a:gsLst>
              <a:gs pos="0">
                <a:schemeClr val="tx1">
                  <a:lumMod val="50000"/>
                  <a:lumOff val="50000"/>
                </a:schemeClr>
              </a:gs>
              <a:gs pos="52000">
                <a:schemeClr val="bg1">
                  <a:lumMod val="65000"/>
                </a:schemeClr>
              </a:gs>
              <a:gs pos="100000">
                <a:schemeClr val="bg2">
                  <a:lumMod val="40000"/>
                  <a:lumOff val="60000"/>
                </a:schemeClr>
              </a:gs>
            </a:gsLst>
          </a:gradFill>
        </p:spPr>
        <p:style>
          <a:lnRef idx="0">
            <a:schemeClr val="accent4"/>
          </a:lnRef>
          <a:fillRef idx="3">
            <a:schemeClr val="accent4"/>
          </a:fillRef>
          <a:effectRef idx="3">
            <a:schemeClr val="accent4"/>
          </a:effectRef>
          <a:fontRef idx="minor">
            <a:schemeClr val="lt1"/>
          </a:fontRef>
        </p:style>
        <p:txBody>
          <a:bodyPr rtlCol="0" anchor="t"/>
          <a:lstStyle/>
          <a:p>
            <a:pPr algn="ctr"/>
            <a:r>
              <a:rPr lang="es-ES" dirty="0"/>
              <a:t>Pruebas de Integración</a:t>
            </a:r>
          </a:p>
        </p:txBody>
      </p:sp>
      <p:sp>
        <p:nvSpPr>
          <p:cNvPr id="4" name="2 Marcador de texto"/>
          <p:cNvSpPr>
            <a:spLocks noGrp="1"/>
          </p:cNvSpPr>
          <p:nvPr>
            <p:ph type="body" idx="1"/>
          </p:nvPr>
        </p:nvSpPr>
        <p:spPr>
          <a:xfrm>
            <a:off x="395536" y="1844824"/>
            <a:ext cx="8280920" cy="432048"/>
          </a:xfrm>
        </p:spPr>
        <p:txBody>
          <a:bodyPr/>
          <a:lstStyle/>
          <a:p>
            <a:r>
              <a:rPr lang="es-ES" dirty="0"/>
              <a:t>otros niveles de prueba</a:t>
            </a:r>
          </a:p>
        </p:txBody>
      </p:sp>
      <p:sp>
        <p:nvSpPr>
          <p:cNvPr id="14" name="3 Marcador de contenido"/>
          <p:cNvSpPr>
            <a:spLocks noGrp="1"/>
          </p:cNvSpPr>
          <p:nvPr>
            <p:ph sz="half" idx="2"/>
          </p:nvPr>
        </p:nvSpPr>
        <p:spPr>
          <a:xfrm>
            <a:off x="2843808" y="2276872"/>
            <a:ext cx="5688632" cy="4392488"/>
          </a:xfrm>
        </p:spPr>
        <p:txBody>
          <a:bodyPr tIns="0" bIns="0" anchor="ctr">
            <a:no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algn="just">
              <a:spcAft>
                <a:spcPts val="600"/>
              </a:spcAft>
            </a:pPr>
            <a:r>
              <a:rPr lang="es-ES" dirty="0"/>
              <a:t>Además de las pruebas unitarias existen:</a:t>
            </a:r>
          </a:p>
          <a:p>
            <a:pPr marL="285750" indent="-285750" algn="just">
              <a:spcAft>
                <a:spcPts val="600"/>
              </a:spcAft>
              <a:buFont typeface="Wingdings" pitchFamily="2" charset="2"/>
              <a:buChar char="Ø"/>
            </a:pPr>
            <a:r>
              <a:rPr lang="es-ES" b="1" dirty="0"/>
              <a:t>Pruebas de Integración</a:t>
            </a:r>
            <a:r>
              <a:rPr lang="es-ES" dirty="0"/>
              <a:t>: Tienen como objetivo verificar la correcta integración de todas las unidades probadas en la prueba unitaria (</a:t>
            </a:r>
            <a:r>
              <a:rPr lang="es-ES" b="1" dirty="0"/>
              <a:t>integración interna</a:t>
            </a:r>
            <a:r>
              <a:rPr lang="es-ES" dirty="0"/>
              <a:t>) y la correcta integración con otros sistemas involucrados (</a:t>
            </a:r>
            <a:r>
              <a:rPr lang="es-ES" b="1" dirty="0"/>
              <a:t>integración externa</a:t>
            </a:r>
            <a:r>
              <a:rPr lang="es-ES" dirty="0"/>
              <a:t>). Normalmente se realizan tras las pruebas unitarias.</a:t>
            </a:r>
          </a:p>
          <a:p>
            <a:pPr marL="285750" indent="-285750" algn="just">
              <a:spcAft>
                <a:spcPts val="600"/>
              </a:spcAft>
              <a:buFont typeface="Wingdings" pitchFamily="2" charset="2"/>
              <a:buChar char="Ø"/>
            </a:pPr>
            <a:r>
              <a:rPr lang="es-ES" b="1" dirty="0"/>
              <a:t>Pruebas de Sistema</a:t>
            </a:r>
            <a:r>
              <a:rPr lang="es-ES" dirty="0"/>
              <a:t>: Su objetivo es verificar el </a:t>
            </a:r>
            <a:r>
              <a:rPr lang="es-ES" b="1" dirty="0"/>
              <a:t>comportamiento del sistema</a:t>
            </a:r>
            <a:r>
              <a:rPr lang="es-ES" dirty="0"/>
              <a:t> en su </a:t>
            </a:r>
            <a:r>
              <a:rPr lang="es-ES" b="1" dirty="0"/>
              <a:t>totalidad</a:t>
            </a:r>
            <a:r>
              <a:rPr lang="es-ES" dirty="0"/>
              <a:t>. Para ello, las pruebas de Sistema se afrontan desde una doble perspectiva para </a:t>
            </a:r>
            <a:r>
              <a:rPr lang="es-ES" b="1" dirty="0"/>
              <a:t>cubrir tanto los requisitos Funcionales como los No Funcionales</a:t>
            </a:r>
            <a:r>
              <a:rPr lang="es-ES" dirty="0"/>
              <a:t> del sistema bajo prueba. Normalmente, tras las pruebas de integración.</a:t>
            </a:r>
          </a:p>
          <a:p>
            <a:pPr marL="285750" indent="-285750" algn="just">
              <a:spcAft>
                <a:spcPts val="600"/>
              </a:spcAft>
              <a:buFont typeface="Wingdings" pitchFamily="2" charset="2"/>
              <a:buChar char="Ø"/>
            </a:pPr>
            <a:r>
              <a:rPr lang="es-ES" b="1" dirty="0"/>
              <a:t>Pruebas de Aceptación</a:t>
            </a:r>
            <a:r>
              <a:rPr lang="es-ES" dirty="0"/>
              <a:t>: Están </a:t>
            </a:r>
            <a:r>
              <a:rPr lang="es-ES" b="1" dirty="0"/>
              <a:t>orientadas a la aceptación final </a:t>
            </a:r>
            <a:r>
              <a:rPr lang="es-ES" dirty="0"/>
              <a:t>del producto por parte del usuario. El objetivo principal de este nivel de pruebas, es </a:t>
            </a:r>
            <a:r>
              <a:rPr lang="es-ES" b="1" dirty="0"/>
              <a:t>dar confianza al usuario </a:t>
            </a:r>
            <a:r>
              <a:rPr lang="es-ES" dirty="0"/>
              <a:t>de que el sistema funcionará de acuerdo a sus expectativas, cumpliendo los requisitos funcionales y operativos esperados. Normalmente, tras las pruebas de sistema.</a:t>
            </a:r>
          </a:p>
        </p:txBody>
      </p:sp>
      <p:sp>
        <p:nvSpPr>
          <p:cNvPr id="8" name="7 Rectángulo redondeado"/>
          <p:cNvSpPr/>
          <p:nvPr/>
        </p:nvSpPr>
        <p:spPr>
          <a:xfrm>
            <a:off x="751384" y="5445224"/>
            <a:ext cx="1224136" cy="936104"/>
          </a:xfrm>
          <a:prstGeom prst="roundRect">
            <a:avLst/>
          </a:prstGeom>
          <a:gradFill>
            <a:gsLst>
              <a:gs pos="0">
                <a:srgbClr val="899B03"/>
              </a:gs>
              <a:gs pos="65000">
                <a:srgbClr val="9AAE04"/>
              </a:gs>
              <a:gs pos="100000">
                <a:srgbClr val="AAC004"/>
              </a:gs>
            </a:gsLst>
          </a:gradFill>
        </p:spPr>
        <p:style>
          <a:lnRef idx="0">
            <a:schemeClr val="accent1"/>
          </a:lnRef>
          <a:fillRef idx="3">
            <a:schemeClr val="accent1"/>
          </a:fillRef>
          <a:effectRef idx="3">
            <a:schemeClr val="accent1"/>
          </a:effectRef>
          <a:fontRef idx="minor">
            <a:schemeClr val="lt1"/>
          </a:fontRef>
        </p:style>
        <p:txBody>
          <a:bodyPr rtlCol="0" anchor="ctr"/>
          <a:lstStyle/>
          <a:p>
            <a:pPr algn="ctr"/>
            <a:r>
              <a:rPr lang="es-ES" dirty="0"/>
              <a:t>Pruebas Unitarias</a:t>
            </a:r>
          </a:p>
        </p:txBody>
      </p:sp>
      <p:sp>
        <p:nvSpPr>
          <p:cNvPr id="10" name="1 Título"/>
          <p:cNvSpPr txBox="1">
            <a:spLocks/>
          </p:cNvSpPr>
          <p:nvPr/>
        </p:nvSpPr>
        <p:spPr>
          <a:xfrm>
            <a:off x="395536" y="1484784"/>
            <a:ext cx="8280920" cy="432048"/>
          </a:xfrm>
          <a:prstGeom prst="rect">
            <a:avLst/>
          </a:prstGeom>
        </p:spPr>
        <p:txBody>
          <a:bodyPr vert="horz" lIns="91440" tIns="45720" rIns="91440" bIns="45720" rtlCol="0" anchor="t">
            <a:normAutofit fontScale="97500"/>
          </a:bodyPr>
          <a:lstStyle>
            <a:lvl1pPr algn="l" defTabSz="914400" rtl="0" eaLnBrk="1" latinLnBrk="0" hangingPunct="1">
              <a:spcBef>
                <a:spcPct val="0"/>
              </a:spcBef>
              <a:buNone/>
              <a:defRPr sz="2400" b="1" kern="1200" baseline="0">
                <a:solidFill>
                  <a:srgbClr val="960F68"/>
                </a:solidFill>
                <a:latin typeface="Arial" pitchFamily="34" charset="0"/>
                <a:ea typeface="+mj-ea"/>
                <a:cs typeface="Arial" pitchFamily="34" charset="0"/>
              </a:defRPr>
            </a:lvl1pPr>
          </a:lstStyle>
          <a:p>
            <a:r>
              <a:rPr lang="es-ES_tradnl" sz="2200" dirty="0">
                <a:solidFill>
                  <a:srgbClr val="6685C2"/>
                </a:solidFill>
              </a:rPr>
              <a:t>Conociendo las pruebas unitarias</a:t>
            </a:r>
            <a:endParaRPr lang="es-ES" sz="2200" dirty="0">
              <a:solidFill>
                <a:srgbClr val="6685C2"/>
              </a:solidFill>
            </a:endParaRPr>
          </a:p>
        </p:txBody>
      </p:sp>
    </p:spTree>
    <p:extLst>
      <p:ext uri="{BB962C8B-B14F-4D97-AF65-F5344CB8AC3E}">
        <p14:creationId xmlns:p14="http://schemas.microsoft.com/office/powerpoint/2010/main" val="1761671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fade">
                                      <p:cBhvr>
                                        <p:cTn id="11" dur="500"/>
                                        <p:tgtEl>
                                          <p:spTgt spid="1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xEl>
                                              <p:pRg st="1" end="1"/>
                                            </p:txEl>
                                          </p:spTgt>
                                        </p:tgtEl>
                                        <p:attrNameLst>
                                          <p:attrName>style.visibility</p:attrName>
                                        </p:attrNameLst>
                                      </p:cBhvr>
                                      <p:to>
                                        <p:strVal val="visible"/>
                                      </p:to>
                                    </p:set>
                                    <p:animEffect transition="in" filter="fade">
                                      <p:cBhvr>
                                        <p:cTn id="20" dur="500"/>
                                        <p:tgtEl>
                                          <p:spTgt spid="14">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4">
                                            <p:txEl>
                                              <p:pRg st="2" end="2"/>
                                            </p:txEl>
                                          </p:spTgt>
                                        </p:tgtEl>
                                        <p:attrNameLst>
                                          <p:attrName>style.visibility</p:attrName>
                                        </p:attrNameLst>
                                      </p:cBhvr>
                                      <p:to>
                                        <p:strVal val="visible"/>
                                      </p:to>
                                    </p:set>
                                    <p:animEffect transition="in" filter="fade">
                                      <p:cBhvr>
                                        <p:cTn id="29" dur="500"/>
                                        <p:tgtEl>
                                          <p:spTgt spid="14">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4">
                                            <p:txEl>
                                              <p:pRg st="3" end="3"/>
                                            </p:txEl>
                                          </p:spTgt>
                                        </p:tgtEl>
                                        <p:attrNameLst>
                                          <p:attrName>style.visibility</p:attrName>
                                        </p:attrNameLst>
                                      </p:cBhvr>
                                      <p:to>
                                        <p:strVal val="visible"/>
                                      </p:to>
                                    </p:set>
                                    <p:animEffect transition="in" filter="fade">
                                      <p:cBhvr>
                                        <p:cTn id="38" dur="500"/>
                                        <p:tgtEl>
                                          <p:spTgt spid="1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1"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ventajas</a:t>
            </a:r>
          </a:p>
        </p:txBody>
      </p:sp>
      <p:sp>
        <p:nvSpPr>
          <p:cNvPr id="10" name="3 Marcador de contenido"/>
          <p:cNvSpPr>
            <a:spLocks noGrp="1"/>
          </p:cNvSpPr>
          <p:nvPr>
            <p:ph sz="half" idx="2"/>
          </p:nvPr>
        </p:nvSpPr>
        <p:spPr>
          <a:xfrm>
            <a:off x="395536" y="2276872"/>
            <a:ext cx="8136904" cy="4464496"/>
          </a:xfrm>
        </p:spPr>
        <p:txBody>
          <a:bodyPr tIns="0" bIns="0" anchor="t">
            <a:no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285750" indent="-285750" algn="just">
              <a:spcAft>
                <a:spcPts val="1200"/>
              </a:spcAft>
              <a:buFont typeface="Wingdings" pitchFamily="2" charset="2"/>
              <a:buChar char="ü"/>
            </a:pPr>
            <a:r>
              <a:rPr lang="es-ES" sz="1700" b="1" dirty="0"/>
              <a:t>Aseguran la calidad del código entregado: </a:t>
            </a:r>
            <a:r>
              <a:rPr lang="es-ES" sz="1700" dirty="0"/>
              <a:t>Es la mejor forma de detectar errores tempranamente en el desarrollo. Los errores son más fáciles de localizar con este tipo de pruebas.</a:t>
            </a:r>
          </a:p>
          <a:p>
            <a:pPr marL="285750" indent="-285750" algn="just">
              <a:spcAft>
                <a:spcPts val="1200"/>
              </a:spcAft>
              <a:buFont typeface="Wingdings" pitchFamily="2" charset="2"/>
              <a:buChar char="ü"/>
            </a:pPr>
            <a:r>
              <a:rPr lang="es-ES" sz="1700" b="1" dirty="0"/>
              <a:t>Fomentan el cambio y la refactorización: </a:t>
            </a:r>
            <a:r>
              <a:rPr lang="es-ES" sz="1700" dirty="0"/>
              <a:t>Permiten realizar pruebas sobre los cambios de forma rápida, por ello si consideramos que nuestro código es mejorable podemos cambiarlo con mayores garantías de que no se introducen errores.</a:t>
            </a:r>
          </a:p>
          <a:p>
            <a:pPr marL="285750" indent="-285750" algn="just">
              <a:spcAft>
                <a:spcPts val="1200"/>
              </a:spcAft>
              <a:buFont typeface="Wingdings" pitchFamily="2" charset="2"/>
              <a:buChar char="ü"/>
            </a:pPr>
            <a:r>
              <a:rPr lang="es-ES" sz="1700" b="1" dirty="0"/>
              <a:t>Reducen los problemas y tiempos dedicados a la integración: </a:t>
            </a:r>
            <a:r>
              <a:rPr lang="es-ES" sz="1700" dirty="0"/>
              <a:t>Permiten llegar a la fase de integración con un grado alto de seguridad de que el código está funcionando correctamente, incluso las dependencias (se pueden simular).</a:t>
            </a:r>
          </a:p>
          <a:p>
            <a:pPr marL="285750" indent="-285750" algn="just">
              <a:buFont typeface="Wingdings" pitchFamily="2" charset="2"/>
              <a:buChar char="ü"/>
            </a:pPr>
            <a:r>
              <a:rPr lang="es-ES" sz="1700" b="1" dirty="0"/>
              <a:t>Documentan el código: </a:t>
            </a:r>
            <a:r>
              <a:rPr lang="es-ES" sz="1700" dirty="0"/>
              <a:t>A través de las pruebas podemos comprender mejor qué hace una función y qué se espera de ella.</a:t>
            </a:r>
          </a:p>
        </p:txBody>
      </p:sp>
    </p:spTree>
    <p:extLst>
      <p:ext uri="{BB962C8B-B14F-4D97-AF65-F5344CB8AC3E}">
        <p14:creationId xmlns:p14="http://schemas.microsoft.com/office/powerpoint/2010/main" val="4057073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500"/>
                                        <p:tgtEl>
                                          <p:spTgt spid="10">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2" end="2"/>
                                            </p:txEl>
                                          </p:spTgt>
                                        </p:tgtEl>
                                        <p:attrNameLst>
                                          <p:attrName>style.visibility</p:attrName>
                                        </p:attrNameLst>
                                      </p:cBhvr>
                                      <p:to>
                                        <p:strVal val="visible"/>
                                      </p:to>
                                    </p:set>
                                    <p:animEffect transition="in" filter="fade">
                                      <p:cBhvr>
                                        <p:cTn id="22" dur="500"/>
                                        <p:tgtEl>
                                          <p:spTgt spid="10">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3" end="3"/>
                                            </p:txEl>
                                          </p:spTgt>
                                        </p:tgtEl>
                                        <p:attrNameLst>
                                          <p:attrName>style.visibility</p:attrName>
                                        </p:attrNameLst>
                                      </p:cBhvr>
                                      <p:to>
                                        <p:strVal val="visible"/>
                                      </p:to>
                                    </p:set>
                                    <p:animEffect transition="in" filter="fade">
                                      <p:cBhvr>
                                        <p:cTn id="27"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limitaciones</a:t>
            </a:r>
          </a:p>
        </p:txBody>
      </p:sp>
      <p:sp>
        <p:nvSpPr>
          <p:cNvPr id="10" name="3 Marcador de contenido"/>
          <p:cNvSpPr>
            <a:spLocks noGrp="1"/>
          </p:cNvSpPr>
          <p:nvPr>
            <p:ph sz="half" idx="2"/>
          </p:nvPr>
        </p:nvSpPr>
        <p:spPr>
          <a:xfrm>
            <a:off x="395536" y="2276872"/>
            <a:ext cx="8136904" cy="4464496"/>
          </a:xfrm>
        </p:spPr>
        <p:txBody>
          <a:bodyPr tIns="0" bIns="0">
            <a:norm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285750" indent="-285750" algn="just">
              <a:buFont typeface="Wingdings" pitchFamily="2" charset="2"/>
              <a:buChar char="v"/>
            </a:pPr>
            <a:r>
              <a:rPr lang="es-ES" sz="1600" dirty="0"/>
              <a:t>Nos ayudan a detectar defectos, pero no nos garantizan la ausencia de éstos. Constituye uno de los fundamentos del </a:t>
            </a:r>
            <a:r>
              <a:rPr lang="es-ES" sz="1600" dirty="0" err="1"/>
              <a:t>testing</a:t>
            </a:r>
            <a:r>
              <a:rPr lang="es-ES" sz="1600" dirty="0"/>
              <a:t>, las pruebas muestran la existencia de defectos, no la ausencia de los mismos.</a:t>
            </a:r>
          </a:p>
          <a:p>
            <a:pPr marL="285750" indent="-285750" algn="just">
              <a:buFont typeface="Wingdings" pitchFamily="2" charset="2"/>
              <a:buChar char="v"/>
            </a:pPr>
            <a:r>
              <a:rPr lang="es-ES" sz="1600" dirty="0"/>
              <a:t>Al estar ejercitando trozos de código o funcionalidades independientes de forma aislada, no servirán para descubrir problemas que afecten a todo el sistema en su conjunto. Por eso son más efectivas si se combinan con otros niveles de prueba. </a:t>
            </a:r>
          </a:p>
        </p:txBody>
      </p:sp>
    </p:spTree>
    <p:extLst>
      <p:ext uri="{BB962C8B-B14F-4D97-AF65-F5344CB8AC3E}">
        <p14:creationId xmlns:p14="http://schemas.microsoft.com/office/powerpoint/2010/main" val="106030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principios FIRST</a:t>
            </a:r>
          </a:p>
        </p:txBody>
      </p:sp>
      <p:sp>
        <p:nvSpPr>
          <p:cNvPr id="10" name="3 Marcador de contenido"/>
          <p:cNvSpPr>
            <a:spLocks noGrp="1"/>
          </p:cNvSpPr>
          <p:nvPr>
            <p:ph sz="half" idx="2"/>
          </p:nvPr>
        </p:nvSpPr>
        <p:spPr>
          <a:xfrm>
            <a:off x="395536" y="2276872"/>
            <a:ext cx="8136904" cy="360040"/>
          </a:xfrm>
        </p:spPr>
        <p:txBody>
          <a:bodyPr tIns="0" bIns="0">
            <a:normAutofit/>
          </a:bodyPr>
          <a:lstStyle>
            <a:lvl1pPr marL="0" indent="0">
              <a:buNone/>
              <a:defRPr lang="es-ES" sz="1400" b="0" i="0" u="none" strike="noStrike" baseline="0" smtClean="0">
                <a:solidFill>
                  <a:schemeClr val="tx1">
                    <a:lumMod val="50000"/>
                    <a:lumOff val="50000"/>
                  </a:schemeClr>
                </a:solidFill>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algn="just"/>
            <a:r>
              <a:rPr lang="es-ES" sz="1600" dirty="0"/>
              <a:t>Las pruebas unitarias deben cumplir las siguientes cualidades:</a:t>
            </a:r>
          </a:p>
        </p:txBody>
      </p:sp>
      <p:pic>
        <p:nvPicPr>
          <p:cNvPr id="6" name="5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560" y="2827358"/>
            <a:ext cx="1026964" cy="771028"/>
          </a:xfrm>
          <a:prstGeom prst="rect">
            <a:avLst/>
          </a:prstGeom>
        </p:spPr>
      </p:pic>
      <p:sp>
        <p:nvSpPr>
          <p:cNvPr id="8" name="3 Marcador de contenido"/>
          <p:cNvSpPr txBox="1">
            <a:spLocks/>
          </p:cNvSpPr>
          <p:nvPr/>
        </p:nvSpPr>
        <p:spPr>
          <a:xfrm>
            <a:off x="1691680" y="2708920"/>
            <a:ext cx="6912768" cy="1440160"/>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b="1" dirty="0" err="1">
                <a:solidFill>
                  <a:srgbClr val="960F68"/>
                </a:solidFill>
              </a:rPr>
              <a:t>F</a:t>
            </a:r>
            <a:r>
              <a:rPr lang="es-ES" b="1" dirty="0" err="1"/>
              <a:t>ast</a:t>
            </a:r>
            <a:r>
              <a:rPr lang="es-ES" b="1" dirty="0"/>
              <a:t> - Rápidas: </a:t>
            </a:r>
            <a:r>
              <a:rPr lang="es-ES" dirty="0"/>
              <a:t>La ejecución de las pruebas debe ser rápida, para que no suponga esfuerzo ejecutarlas siempre que se necesiten. Cuanto más frecuentemente se ejecuten, mas eficaces son para detectar problemas. Por este motivo lo mejor es </a:t>
            </a:r>
            <a:r>
              <a:rPr lang="es-ES" b="1" dirty="0"/>
              <a:t>automatizarlas</a:t>
            </a:r>
            <a:r>
              <a:rPr lang="es-ES" dirty="0"/>
              <a:t>, e intentar que requieran la mínima intervención manual para su ejecución.</a:t>
            </a:r>
          </a:p>
        </p:txBody>
      </p:sp>
      <p:pic>
        <p:nvPicPr>
          <p:cNvPr id="7" name="6 Imag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8104" y="4011768"/>
            <a:ext cx="2821427" cy="2113859"/>
          </a:xfrm>
          <a:prstGeom prst="rect">
            <a:avLst/>
          </a:prstGeom>
        </p:spPr>
      </p:pic>
      <p:sp>
        <p:nvSpPr>
          <p:cNvPr id="11" name="3 Marcador de contenido"/>
          <p:cNvSpPr txBox="1">
            <a:spLocks/>
          </p:cNvSpPr>
          <p:nvPr/>
        </p:nvSpPr>
        <p:spPr>
          <a:xfrm>
            <a:off x="179512" y="4283474"/>
            <a:ext cx="5112568" cy="1842154"/>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b="1" dirty="0" err="1">
                <a:solidFill>
                  <a:srgbClr val="960F68"/>
                </a:solidFill>
              </a:rPr>
              <a:t>I</a:t>
            </a:r>
            <a:r>
              <a:rPr lang="es-ES" b="1" dirty="0" err="1"/>
              <a:t>ndependent</a:t>
            </a:r>
            <a:r>
              <a:rPr lang="es-ES" b="1" dirty="0"/>
              <a:t> - Independientes: </a:t>
            </a:r>
            <a:r>
              <a:rPr lang="es-ES" dirty="0"/>
              <a:t>Para facilitar la tarea de localizar el origen del error es muy importante que los </a:t>
            </a:r>
            <a:r>
              <a:rPr lang="es-ES" dirty="0" err="1"/>
              <a:t>tests</a:t>
            </a:r>
            <a:r>
              <a:rPr lang="es-ES" dirty="0"/>
              <a:t> sean </a:t>
            </a:r>
            <a:r>
              <a:rPr lang="es-ES" b="1" dirty="0"/>
              <a:t>independientes</a:t>
            </a:r>
            <a:r>
              <a:rPr lang="es-ES" dirty="0"/>
              <a:t> los unos de los otros. Para lograr esto deberemos evitar a toda costa que las salidas de unos </a:t>
            </a:r>
            <a:r>
              <a:rPr lang="es-ES" dirty="0" err="1"/>
              <a:t>tests</a:t>
            </a:r>
            <a:r>
              <a:rPr lang="es-ES" dirty="0"/>
              <a:t> se utilicen como entradas de otros. Es más, no deberíamos preocuparnos del orden en el cual se vayan a ejecutar los </a:t>
            </a:r>
            <a:r>
              <a:rPr lang="es-ES" dirty="0" err="1"/>
              <a:t>tests</a:t>
            </a:r>
            <a:r>
              <a:rPr lang="es-ES" dirty="0"/>
              <a:t> ya que cada ejecución puede tener una ordenación distinta</a:t>
            </a:r>
            <a:r>
              <a:rPr lang="es-ES" b="1" dirty="0"/>
              <a:t> </a:t>
            </a:r>
            <a:r>
              <a:rPr lang="es-ES" dirty="0"/>
              <a:t>sin que eso afecte al resultado.</a:t>
            </a:r>
          </a:p>
        </p:txBody>
      </p:sp>
    </p:spTree>
    <p:extLst>
      <p:ext uri="{BB962C8B-B14F-4D97-AF65-F5344CB8AC3E}">
        <p14:creationId xmlns:p14="http://schemas.microsoft.com/office/powerpoint/2010/main" val="1513218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xEl>
                                              <p:pRg st="0" end="0"/>
                                            </p:txEl>
                                          </p:spTgt>
                                        </p:tgtEl>
                                        <p:attrNameLst>
                                          <p:attrName>style.visibility</p:attrName>
                                        </p:attrNameLst>
                                      </p:cBhvr>
                                      <p:to>
                                        <p:strVal val="visible"/>
                                      </p:to>
                                    </p:set>
                                    <p:animEffect transition="in" filter="fade">
                                      <p:cBhvr>
                                        <p:cTn id="20" dur="500"/>
                                        <p:tgtEl>
                                          <p:spTgt spid="11">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principios FIRST</a:t>
            </a:r>
          </a:p>
        </p:txBody>
      </p:sp>
      <p:sp>
        <p:nvSpPr>
          <p:cNvPr id="8" name="3 Marcador de contenido"/>
          <p:cNvSpPr txBox="1">
            <a:spLocks/>
          </p:cNvSpPr>
          <p:nvPr/>
        </p:nvSpPr>
        <p:spPr>
          <a:xfrm>
            <a:off x="2555776" y="2460564"/>
            <a:ext cx="6408712" cy="2264580"/>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b="1" dirty="0" err="1">
                <a:solidFill>
                  <a:srgbClr val="960F68"/>
                </a:solidFill>
              </a:rPr>
              <a:t>R</a:t>
            </a:r>
            <a:r>
              <a:rPr lang="es-ES" b="1" dirty="0" err="1"/>
              <a:t>epeteable</a:t>
            </a:r>
            <a:r>
              <a:rPr lang="es-ES" b="1" dirty="0"/>
              <a:t> - Repetibles: </a:t>
            </a:r>
            <a:r>
              <a:rPr lang="es-ES" dirty="0"/>
              <a:t>No se deben crear pruebas unitarias que solo se puedan ejecutar una única vez, ya sea por motivos del entorno o dependencias. Todos los miembros del equipo de desarrollo deben poder probar que cualquier cambio que hayan hecho no ha afectado al software que están construyendo entre todos. Las principales dependencias suelen ser de la configuración de usuario, la versión de la BBDD, o el sistema operativo. Una solución es utilizar el servidor de integración continua como referente, y en caso de discordancia en el resultado de los </a:t>
            </a:r>
            <a:r>
              <a:rPr lang="es-ES" dirty="0" err="1"/>
              <a:t>tests</a:t>
            </a:r>
            <a:r>
              <a:rPr lang="es-ES" dirty="0"/>
              <a:t>, determinar la causa para solucionarla cuanto antes.</a:t>
            </a:r>
          </a:p>
        </p:txBody>
      </p:sp>
      <p:sp>
        <p:nvSpPr>
          <p:cNvPr id="11" name="3 Marcador de contenido"/>
          <p:cNvSpPr txBox="1">
            <a:spLocks/>
          </p:cNvSpPr>
          <p:nvPr/>
        </p:nvSpPr>
        <p:spPr>
          <a:xfrm>
            <a:off x="179512" y="4725144"/>
            <a:ext cx="5904656" cy="1842154"/>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b="1" dirty="0" err="1">
                <a:solidFill>
                  <a:srgbClr val="960F68"/>
                </a:solidFill>
              </a:rPr>
              <a:t>S</a:t>
            </a:r>
            <a:r>
              <a:rPr lang="es-ES" b="1" dirty="0" err="1"/>
              <a:t>elf-validating</a:t>
            </a:r>
            <a:r>
              <a:rPr lang="es-ES" b="1" dirty="0"/>
              <a:t> – Auto-evaluables</a:t>
            </a:r>
            <a:r>
              <a:rPr lang="es-ES" dirty="0"/>
              <a:t>: Las pruebas deben ofrecer un resultado claro que indique si ha pasado o ha fallado. No debería ser necesario realizar absolutamente ninguna operación por parte del programador, tal como comparar valores, leer un fichero de resultados, etc. De ese modo, las herramientas de pruebas pueden ofrecer un resultado global absoluto para el conjunto de pruebas.</a:t>
            </a:r>
          </a:p>
        </p:txBody>
      </p:sp>
      <p:pic>
        <p:nvPicPr>
          <p:cNvPr id="3" name="2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144" y="2473124"/>
            <a:ext cx="1944624" cy="1258824"/>
          </a:xfrm>
          <a:prstGeom prst="rect">
            <a:avLst/>
          </a:prstGeom>
        </p:spPr>
      </p:pic>
      <p:pic>
        <p:nvPicPr>
          <p:cNvPr id="9" name="8 Image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8388" y="4725144"/>
            <a:ext cx="2324912" cy="1745506"/>
          </a:xfrm>
          <a:prstGeom prst="rect">
            <a:avLst/>
          </a:prstGeom>
        </p:spPr>
      </p:pic>
    </p:spTree>
    <p:extLst>
      <p:ext uri="{BB962C8B-B14F-4D97-AF65-F5344CB8AC3E}">
        <p14:creationId xmlns:p14="http://schemas.microsoft.com/office/powerpoint/2010/main" val="34622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xEl>
                                              <p:pRg st="0" end="0"/>
                                            </p:txEl>
                                          </p:spTgt>
                                        </p:tgtEl>
                                        <p:attrNameLst>
                                          <p:attrName>style.visibility</p:attrName>
                                        </p:attrNameLst>
                                      </p:cBhvr>
                                      <p:to>
                                        <p:strVal val="visible"/>
                                      </p:to>
                                    </p:set>
                                    <p:animEffect transition="in" filter="fade">
                                      <p:cBhvr>
                                        <p:cTn id="15" dur="500"/>
                                        <p:tgtEl>
                                          <p:spTgt spid="11">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395536" y="1484784"/>
            <a:ext cx="8280920" cy="432048"/>
          </a:xfrm>
        </p:spPr>
        <p:txBody>
          <a:bodyPr>
            <a:normAutofit fontScale="90000"/>
          </a:bodyPr>
          <a:lstStyle/>
          <a:p>
            <a:r>
              <a:rPr lang="es-ES_tradnl" dirty="0"/>
              <a:t>Conociendo las pruebas unitarias</a:t>
            </a:r>
            <a:endParaRPr lang="es-ES" dirty="0"/>
          </a:p>
        </p:txBody>
      </p:sp>
      <p:sp>
        <p:nvSpPr>
          <p:cNvPr id="4" name="2 Marcador de texto"/>
          <p:cNvSpPr>
            <a:spLocks noGrp="1"/>
          </p:cNvSpPr>
          <p:nvPr>
            <p:ph type="body" idx="1"/>
          </p:nvPr>
        </p:nvSpPr>
        <p:spPr>
          <a:xfrm>
            <a:off x="395536" y="1844824"/>
            <a:ext cx="8280920" cy="432048"/>
          </a:xfrm>
        </p:spPr>
        <p:txBody>
          <a:bodyPr/>
          <a:lstStyle/>
          <a:p>
            <a:r>
              <a:rPr lang="es-ES" dirty="0"/>
              <a:t>principios FIRST</a:t>
            </a:r>
          </a:p>
        </p:txBody>
      </p:sp>
      <p:sp>
        <p:nvSpPr>
          <p:cNvPr id="8" name="3 Marcador de contenido"/>
          <p:cNvSpPr txBox="1">
            <a:spLocks/>
          </p:cNvSpPr>
          <p:nvPr/>
        </p:nvSpPr>
        <p:spPr>
          <a:xfrm>
            <a:off x="2699792" y="2460564"/>
            <a:ext cx="6264696" cy="2264580"/>
          </a:xfrm>
          <a:prstGeom prst="rect">
            <a:avLst/>
          </a:prstGeom>
        </p:spPr>
        <p:txBody>
          <a:bodyPr vert="horz" lIns="91440" tIns="0" rIns="91440" bIns="0" rtlCol="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s-ES" sz="1400" b="0" i="0" u="none" strike="noStrike" kern="1200" baseline="0" smtClean="0">
                <a:solidFill>
                  <a:schemeClr val="tx1">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285750" indent="-285750" algn="just">
              <a:spcAft>
                <a:spcPts val="600"/>
              </a:spcAft>
              <a:buFont typeface="Arial" pitchFamily="34" charset="0"/>
              <a:buChar char="•"/>
            </a:pPr>
            <a:r>
              <a:rPr lang="es-ES" sz="1600" b="1" dirty="0" err="1">
                <a:solidFill>
                  <a:srgbClr val="960F68"/>
                </a:solidFill>
              </a:rPr>
              <a:t>T</a:t>
            </a:r>
            <a:r>
              <a:rPr lang="es-ES" sz="1600" b="1" dirty="0" err="1"/>
              <a:t>imely</a:t>
            </a:r>
            <a:r>
              <a:rPr lang="es-ES" sz="1600" b="1" dirty="0"/>
              <a:t> – Oportunas</a:t>
            </a:r>
            <a:r>
              <a:rPr lang="es-ES" sz="1600" dirty="0"/>
              <a:t>: Las pruebas deberían escribirse </a:t>
            </a:r>
            <a:r>
              <a:rPr lang="es-ES" sz="1600" i="1" dirty="0"/>
              <a:t>justo cuando se necesitan</a:t>
            </a:r>
            <a:r>
              <a:rPr lang="es-ES" sz="1600" dirty="0"/>
              <a:t>, es decir, a la vez que se esté construyendo el software. Es mala idea dejar estas pruebas para el final, cuando el software se haya implementado completamente, porque una vez que se tiene el código funcionando se utiliza como excusa para no escribirla.</a:t>
            </a:r>
          </a:p>
        </p:txBody>
      </p:sp>
      <p:pic>
        <p:nvPicPr>
          <p:cNvPr id="5" name="4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568" y="2492896"/>
            <a:ext cx="1988840" cy="1988840"/>
          </a:xfrm>
          <a:prstGeom prst="rect">
            <a:avLst/>
          </a:prstGeom>
        </p:spPr>
      </p:pic>
    </p:spTree>
    <p:extLst>
      <p:ext uri="{BB962C8B-B14F-4D97-AF65-F5344CB8AC3E}">
        <p14:creationId xmlns:p14="http://schemas.microsoft.com/office/powerpoint/2010/main" val="4277867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olores everis">
      <a:dk1>
        <a:srgbClr val="000000"/>
      </a:dk1>
      <a:lt1>
        <a:srgbClr val="FFFFFF"/>
      </a:lt1>
      <a:dk2>
        <a:srgbClr val="9AC104"/>
      </a:dk2>
      <a:lt2>
        <a:srgbClr val="737373"/>
      </a:lt2>
      <a:accent1>
        <a:srgbClr val="9AC104"/>
      </a:accent1>
      <a:accent2>
        <a:srgbClr val="1994A4"/>
      </a:accent2>
      <a:accent3>
        <a:srgbClr val="643269"/>
      </a:accent3>
      <a:accent4>
        <a:srgbClr val="D76734"/>
      </a:accent4>
      <a:accent5>
        <a:srgbClr val="E39F03"/>
      </a:accent5>
      <a:accent6>
        <a:srgbClr val="DDB322"/>
      </a:accent6>
      <a:hlink>
        <a:srgbClr val="0070C0"/>
      </a:hlink>
      <a:folHlink>
        <a:srgbClr val="960F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8D333B2CEF194CB6B3E62827184063" ma:contentTypeVersion="13" ma:contentTypeDescription="Create a new document." ma:contentTypeScope="" ma:versionID="e47da60c0549de7848cd67a4b2621535">
  <xsd:schema xmlns:xsd="http://www.w3.org/2001/XMLSchema" xmlns:xs="http://www.w3.org/2001/XMLSchema" xmlns:p="http://schemas.microsoft.com/office/2006/metadata/properties" xmlns:ns2="0164212b-1d17-4b44-8df4-ce9df8ea03e1" xmlns:ns3="b4822bb7-ddf6-482e-8c72-6321e42379e9" targetNamespace="http://schemas.microsoft.com/office/2006/metadata/properties" ma:root="true" ma:fieldsID="c91e7c4cb4c9ca56bc1845c365e0b8c9" ns2:_="" ns3:_="">
    <xsd:import namespace="0164212b-1d17-4b44-8df4-ce9df8ea03e1"/>
    <xsd:import namespace="b4822bb7-ddf6-482e-8c72-6321e42379e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64212b-1d17-4b44-8df4-ce9df8ea03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4822bb7-ddf6-482e-8c72-6321e42379e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E190D5-2742-4177-8039-E0F17768E965}">
  <ds:schemaRefs>
    <ds:schemaRef ds:uri="http://schemas.microsoft.com/sharepoint/v3/contenttype/forms"/>
  </ds:schemaRefs>
</ds:datastoreItem>
</file>

<file path=customXml/itemProps2.xml><?xml version="1.0" encoding="utf-8"?>
<ds:datastoreItem xmlns:ds="http://schemas.openxmlformats.org/officeDocument/2006/customXml" ds:itemID="{8147EDCF-2FDE-4350-B621-1C17A89B2F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64212b-1d17-4b44-8df4-ce9df8ea03e1"/>
    <ds:schemaRef ds:uri="b4822bb7-ddf6-482e-8c72-6321e42379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D018FA-579A-4A27-A78F-20E7E48DFF55}">
  <ds:schemaRefs>
    <ds:schemaRef ds:uri="http://purl.org/dc/elements/1.1/"/>
    <ds:schemaRef ds:uri="http://schemas.microsoft.com/office/2006/metadata/properties"/>
    <ds:schemaRef ds:uri="0164212b-1d17-4b44-8df4-ce9df8ea03e1"/>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b4822bb7-ddf6-482e-8c72-6321e42379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lantilla_PPT </Template>
  <TotalTime>18361</TotalTime>
  <Words>2995</Words>
  <Application>Microsoft Office PowerPoint</Application>
  <PresentationFormat>Presentación en pantalla (4:3)</PresentationFormat>
  <Paragraphs>274</Paragraphs>
  <Slides>36</Slides>
  <Notes>3</Notes>
  <HiddenSlides>3</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36</vt:i4>
      </vt:variant>
    </vt:vector>
  </HeadingPairs>
  <TitlesOfParts>
    <vt:vector size="43" baseType="lpstr">
      <vt:lpstr>Arial</vt:lpstr>
      <vt:lpstr>Arial Black</vt:lpstr>
      <vt:lpstr>ArialMT</vt:lpstr>
      <vt:lpstr>Calibri</vt:lpstr>
      <vt:lpstr>Wingdings</vt:lpstr>
      <vt:lpstr>Tema de Office</vt:lpstr>
      <vt:lpstr>Diapositiva de think-cell</vt:lpstr>
      <vt:lpstr>TESTING UNITARIO</vt:lpstr>
      <vt:lpstr>Presentación de PowerPoint</vt:lpstr>
      <vt:lpstr>Conociendo las pruebas unitarias</vt:lpstr>
      <vt:lpstr>Presentación de PowerPoint</vt:lpstr>
      <vt:lpstr>Conociendo las pruebas unitarias</vt:lpstr>
      <vt:lpstr>Conociendo las pruebas unitarias</vt:lpstr>
      <vt:lpstr>Conociendo las pruebas unitarias</vt:lpstr>
      <vt:lpstr>Conociendo las pruebas unitarias</vt:lpstr>
      <vt:lpstr>Conociendo las pruebas unitarias</vt:lpstr>
      <vt:lpstr>Arrange-Act-Assert</vt:lpstr>
      <vt:lpstr>Arrange-Act-Assert</vt:lpstr>
      <vt:lpstr>JASMINE Y KARMA</vt:lpstr>
      <vt:lpstr>Conociendo Jasmine y Karma</vt:lpstr>
      <vt:lpstr>Conociendo Jasmine y Karma </vt:lpstr>
      <vt:lpstr>Conociendo Jasmine y Karma </vt:lpstr>
      <vt:lpstr>Conociendo Jasmine y Karma </vt:lpstr>
      <vt:lpstr>Conociendo Jasmine y Karma </vt:lpstr>
      <vt:lpstr>Conociendo Jasmine y Karma </vt:lpstr>
      <vt:lpstr>Conociendo Jasmine y Karma </vt:lpstr>
      <vt:lpstr>Reglas de Testing</vt:lpstr>
      <vt:lpstr>Ejercicio</vt:lpstr>
      <vt:lpstr>TDD</vt:lpstr>
      <vt:lpstr>TDD – Test Driven Development</vt:lpstr>
      <vt:lpstr>TDD – Test Driven Development</vt:lpstr>
      <vt:lpstr>TDD – Test Driven Development</vt:lpstr>
      <vt:lpstr>TDD – Test Driven Development</vt:lpstr>
      <vt:lpstr>TDD – Test Driven Development</vt:lpstr>
      <vt:lpstr>TDD – Test Driven Development</vt:lpstr>
      <vt:lpstr>TDD – Test Driven Development</vt:lpstr>
      <vt:lpstr>Ejercicio</vt:lpstr>
      <vt:lpstr>TDD – Test Driven Development</vt:lpstr>
      <vt:lpstr>TDD – Test Driven Development</vt:lpstr>
      <vt:lpstr>TDD – Test Driven Development</vt:lpstr>
      <vt:lpstr>TDD – Test Driven Development</vt:lpstr>
      <vt:lpstr>TDD – Test Driven Development</vt:lpstr>
      <vt:lpstr>TESTING UNITARIO</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veris Marketing y Comunicación</dc:creator>
  <cp:lastModifiedBy>Cristian Marcelo Olivares Araya</cp:lastModifiedBy>
  <cp:revision>499</cp:revision>
  <dcterms:created xsi:type="dcterms:W3CDTF">2011-04-27T16:47:02Z</dcterms:created>
  <dcterms:modified xsi:type="dcterms:W3CDTF">2022-09-08T22: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8D333B2CEF194CB6B3E62827184063</vt:lpwstr>
  </property>
</Properties>
</file>